
<file path=[Content_Types].xml><?xml version="1.0" encoding="utf-8"?>
<Types xmlns="http://schemas.openxmlformats.org/package/2006/content-types">
  <Default Extension="png" ContentType="image/png"/>
  <Default Extension="svg" ContentType="image/svg+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8" r:id="rId1"/>
  </p:sldMasterIdLst>
  <p:notesMasterIdLst>
    <p:notesMasterId r:id="rId24"/>
  </p:notesMasterIdLst>
  <p:handoutMasterIdLst>
    <p:handoutMasterId r:id="rId25"/>
  </p:handoutMasterIdLst>
  <p:sldIdLst>
    <p:sldId id="359" r:id="rId2"/>
    <p:sldId id="1008" r:id="rId3"/>
    <p:sldId id="502" r:id="rId4"/>
    <p:sldId id="511" r:id="rId5"/>
    <p:sldId id="510" r:id="rId6"/>
    <p:sldId id="514" r:id="rId7"/>
    <p:sldId id="512" r:id="rId8"/>
    <p:sldId id="500" r:id="rId9"/>
    <p:sldId id="513" r:id="rId10"/>
    <p:sldId id="509" r:id="rId11"/>
    <p:sldId id="496" r:id="rId12"/>
    <p:sldId id="1003" r:id="rId13"/>
    <p:sldId id="495" r:id="rId14"/>
    <p:sldId id="497" r:id="rId15"/>
    <p:sldId id="487" r:id="rId16"/>
    <p:sldId id="515" r:id="rId17"/>
    <p:sldId id="498" r:id="rId18"/>
    <p:sldId id="1009" r:id="rId19"/>
    <p:sldId id="499" r:id="rId20"/>
    <p:sldId id="1007" r:id="rId21"/>
    <p:sldId id="516" r:id="rId22"/>
    <p:sldId id="1010" r:id="rId23"/>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27" autoAdjust="0"/>
    <p:restoredTop sz="77484" autoAdjust="0"/>
  </p:normalViewPr>
  <p:slideViewPr>
    <p:cSldViewPr snapToGrid="0">
      <p:cViewPr varScale="1">
        <p:scale>
          <a:sx n="97" d="100"/>
          <a:sy n="97" d="100"/>
        </p:scale>
        <p:origin x="508" y="60"/>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F5D922-A647-5945-89E1-2B1158E87E7C}" type="doc">
      <dgm:prSet loTypeId="urn:microsoft.com/office/officeart/2005/8/layout/hierarchy3" loCatId="" qsTypeId="urn:microsoft.com/office/officeart/2005/8/quickstyle/simple1" qsCatId="simple" csTypeId="urn:microsoft.com/office/officeart/2005/8/colors/colorful4" csCatId="colorful" phldr="1"/>
      <dgm:spPr/>
      <dgm:t>
        <a:bodyPr/>
        <a:lstStyle/>
        <a:p>
          <a:endParaRPr lang="en-US"/>
        </a:p>
      </dgm:t>
    </dgm:pt>
    <dgm:pt modelId="{41DCB497-4F67-7240-B1C3-DED53DF245ED}">
      <dgm:prSet phldrT="[Text]" custT="1"/>
      <dgm:spPr/>
      <dgm:t>
        <a:bodyPr/>
        <a:lstStyle/>
        <a:p>
          <a:r>
            <a:rPr lang="en-US" sz="1200" b="1" dirty="0"/>
            <a:t>Functional suitability</a:t>
          </a:r>
        </a:p>
      </dgm:t>
    </dgm:pt>
    <dgm:pt modelId="{EF8DA8D5-FCE9-E14D-9897-BF3EC678B95A}" type="parTrans" cxnId="{FFF9D69F-B680-CD4D-822F-03F59C058A3D}">
      <dgm:prSet/>
      <dgm:spPr/>
      <dgm:t>
        <a:bodyPr/>
        <a:lstStyle/>
        <a:p>
          <a:endParaRPr lang="en-US" sz="2800" b="1"/>
        </a:p>
      </dgm:t>
    </dgm:pt>
    <dgm:pt modelId="{5AAC9A2B-AAFE-704A-A72E-E6537DEA1C39}" type="sibTrans" cxnId="{FFF9D69F-B680-CD4D-822F-03F59C058A3D}">
      <dgm:prSet/>
      <dgm:spPr/>
      <dgm:t>
        <a:bodyPr/>
        <a:lstStyle/>
        <a:p>
          <a:endParaRPr lang="en-US" sz="2800" b="1"/>
        </a:p>
      </dgm:t>
    </dgm:pt>
    <dgm:pt modelId="{53C1FC7C-FB8B-ED43-B796-B56D223ECB81}">
      <dgm:prSet phldrT="[Text]" custT="1"/>
      <dgm:spPr/>
      <dgm:t>
        <a:bodyPr/>
        <a:lstStyle/>
        <a:p>
          <a:r>
            <a:rPr lang="en-US" sz="1000" b="1" dirty="0"/>
            <a:t>Functional correctness</a:t>
          </a:r>
        </a:p>
      </dgm:t>
    </dgm:pt>
    <dgm:pt modelId="{05D8882D-F16D-AB43-A3F3-30720E7BFBE0}" type="parTrans" cxnId="{27293FC4-AFA8-C04F-827D-EF7C5DFD5E2F}">
      <dgm:prSet/>
      <dgm:spPr/>
      <dgm:t>
        <a:bodyPr/>
        <a:lstStyle/>
        <a:p>
          <a:endParaRPr lang="en-US" sz="2800" b="1"/>
        </a:p>
      </dgm:t>
    </dgm:pt>
    <dgm:pt modelId="{FA1A555A-A4F9-B143-A6AC-EE0D227AD57C}" type="sibTrans" cxnId="{27293FC4-AFA8-C04F-827D-EF7C5DFD5E2F}">
      <dgm:prSet/>
      <dgm:spPr/>
      <dgm:t>
        <a:bodyPr/>
        <a:lstStyle/>
        <a:p>
          <a:endParaRPr lang="en-US" sz="2800" b="1"/>
        </a:p>
      </dgm:t>
    </dgm:pt>
    <dgm:pt modelId="{444FF2BE-46A6-0C4D-9D6A-8EF2ABCAD744}">
      <dgm:prSet phldrT="[Text]" custT="1"/>
      <dgm:spPr/>
      <dgm:t>
        <a:bodyPr/>
        <a:lstStyle/>
        <a:p>
          <a:r>
            <a:rPr lang="en-US" sz="1000" b="1" dirty="0"/>
            <a:t>Functional complete-ness</a:t>
          </a:r>
        </a:p>
      </dgm:t>
    </dgm:pt>
    <dgm:pt modelId="{136354CD-7547-0F40-90F8-3C436C8B34AB}" type="parTrans" cxnId="{8287EA18-CC81-C647-AE7B-8853F485D1CB}">
      <dgm:prSet/>
      <dgm:spPr/>
      <dgm:t>
        <a:bodyPr/>
        <a:lstStyle/>
        <a:p>
          <a:endParaRPr lang="en-US" sz="2800" b="1"/>
        </a:p>
      </dgm:t>
    </dgm:pt>
    <dgm:pt modelId="{08BBC0FC-E5EF-2F48-9E65-A9D096746A03}" type="sibTrans" cxnId="{8287EA18-CC81-C647-AE7B-8853F485D1CB}">
      <dgm:prSet/>
      <dgm:spPr/>
      <dgm:t>
        <a:bodyPr/>
        <a:lstStyle/>
        <a:p>
          <a:endParaRPr lang="en-US" sz="2800" b="1"/>
        </a:p>
      </dgm:t>
    </dgm:pt>
    <dgm:pt modelId="{2F9FF1B4-EA6C-7C4A-A81D-BD01257A79E7}">
      <dgm:prSet phldrT="[Text]" custT="1"/>
      <dgm:spPr/>
      <dgm:t>
        <a:bodyPr/>
        <a:lstStyle/>
        <a:p>
          <a:r>
            <a:rPr lang="en-US" sz="1200" b="1" dirty="0"/>
            <a:t>Performance efficiency</a:t>
          </a:r>
        </a:p>
      </dgm:t>
    </dgm:pt>
    <dgm:pt modelId="{DA9D38D4-F370-4C44-9EDE-EC75DD5C2DFF}" type="parTrans" cxnId="{B35CECD8-25B5-B043-BE4F-8B988CB5BE56}">
      <dgm:prSet/>
      <dgm:spPr/>
      <dgm:t>
        <a:bodyPr/>
        <a:lstStyle/>
        <a:p>
          <a:endParaRPr lang="en-US" sz="2800" b="1"/>
        </a:p>
      </dgm:t>
    </dgm:pt>
    <dgm:pt modelId="{73A9813E-E570-3849-9A3D-EE8BC43EE56C}" type="sibTrans" cxnId="{B35CECD8-25B5-B043-BE4F-8B988CB5BE56}">
      <dgm:prSet/>
      <dgm:spPr/>
      <dgm:t>
        <a:bodyPr/>
        <a:lstStyle/>
        <a:p>
          <a:endParaRPr lang="en-US" sz="2800" b="1"/>
        </a:p>
      </dgm:t>
    </dgm:pt>
    <dgm:pt modelId="{FDAB69C9-3BA5-8240-A3EA-4A596500E358}">
      <dgm:prSet phldrT="[Text]" custT="1"/>
      <dgm:spPr/>
      <dgm:t>
        <a:bodyPr/>
        <a:lstStyle/>
        <a:p>
          <a:r>
            <a:rPr lang="en-US" sz="1000" b="1" dirty="0"/>
            <a:t>Capacity</a:t>
          </a:r>
        </a:p>
      </dgm:t>
    </dgm:pt>
    <dgm:pt modelId="{EE9B1C0E-FF5B-F64D-97DA-1EFCDC6AC4F0}" type="parTrans" cxnId="{7D24917B-F264-4E45-BDE3-71E6B04AAB54}">
      <dgm:prSet/>
      <dgm:spPr/>
      <dgm:t>
        <a:bodyPr/>
        <a:lstStyle/>
        <a:p>
          <a:endParaRPr lang="en-US" sz="2800" b="1"/>
        </a:p>
      </dgm:t>
    </dgm:pt>
    <dgm:pt modelId="{32666D97-8610-9945-B7FA-DE82EDE8AF0D}" type="sibTrans" cxnId="{7D24917B-F264-4E45-BDE3-71E6B04AAB54}">
      <dgm:prSet/>
      <dgm:spPr/>
      <dgm:t>
        <a:bodyPr/>
        <a:lstStyle/>
        <a:p>
          <a:endParaRPr lang="en-US" sz="2800" b="1"/>
        </a:p>
      </dgm:t>
    </dgm:pt>
    <dgm:pt modelId="{299096F4-3ED2-8C4A-9186-AB4A03B8C0C6}">
      <dgm:prSet phldrT="[Text]" custT="1"/>
      <dgm:spPr/>
      <dgm:t>
        <a:bodyPr/>
        <a:lstStyle/>
        <a:p>
          <a:r>
            <a:rPr lang="en-US" sz="1000" b="1" dirty="0"/>
            <a:t>Resource utilization</a:t>
          </a:r>
        </a:p>
      </dgm:t>
    </dgm:pt>
    <dgm:pt modelId="{3E784F15-FAE9-BB49-95C5-CAC859C56617}" type="parTrans" cxnId="{841DCEAB-77F6-C149-B398-963E03A33824}">
      <dgm:prSet/>
      <dgm:spPr/>
      <dgm:t>
        <a:bodyPr/>
        <a:lstStyle/>
        <a:p>
          <a:endParaRPr lang="en-US" sz="2800" b="1"/>
        </a:p>
      </dgm:t>
    </dgm:pt>
    <dgm:pt modelId="{82A589DB-9981-E041-A7ED-B93DEBADEC5B}" type="sibTrans" cxnId="{841DCEAB-77F6-C149-B398-963E03A33824}">
      <dgm:prSet/>
      <dgm:spPr/>
      <dgm:t>
        <a:bodyPr/>
        <a:lstStyle/>
        <a:p>
          <a:endParaRPr lang="en-US" sz="2800" b="1"/>
        </a:p>
      </dgm:t>
    </dgm:pt>
    <dgm:pt modelId="{FD4DD728-38B2-774B-93E8-0922AD3E17ED}">
      <dgm:prSet phldrT="[Text]" custT="1"/>
      <dgm:spPr/>
      <dgm:t>
        <a:bodyPr/>
        <a:lstStyle/>
        <a:p>
          <a:r>
            <a:rPr lang="en-US" sz="1000" b="1" dirty="0"/>
            <a:t>Functional appropriate-ness</a:t>
          </a:r>
        </a:p>
      </dgm:t>
    </dgm:pt>
    <dgm:pt modelId="{E876EA2D-293D-BC4A-A196-3712A4F5CDB1}" type="parTrans" cxnId="{18F85895-D2F9-9B49-BDF4-644A05E7DFBE}">
      <dgm:prSet/>
      <dgm:spPr/>
      <dgm:t>
        <a:bodyPr/>
        <a:lstStyle/>
        <a:p>
          <a:endParaRPr lang="en-US" sz="2800" b="1"/>
        </a:p>
      </dgm:t>
    </dgm:pt>
    <dgm:pt modelId="{C3859D40-5AA0-844D-825E-EBCAAA87B506}" type="sibTrans" cxnId="{18F85895-D2F9-9B49-BDF4-644A05E7DFBE}">
      <dgm:prSet/>
      <dgm:spPr/>
      <dgm:t>
        <a:bodyPr/>
        <a:lstStyle/>
        <a:p>
          <a:endParaRPr lang="en-US" sz="2800" b="1"/>
        </a:p>
      </dgm:t>
    </dgm:pt>
    <dgm:pt modelId="{2704C766-EA22-D046-80C0-C5A0AF66F85D}">
      <dgm:prSet phldrT="[Text]" custT="1"/>
      <dgm:spPr/>
      <dgm:t>
        <a:bodyPr/>
        <a:lstStyle/>
        <a:p>
          <a:r>
            <a:rPr lang="en-US" sz="1000" b="1" dirty="0"/>
            <a:t>Time behavior</a:t>
          </a:r>
        </a:p>
      </dgm:t>
    </dgm:pt>
    <dgm:pt modelId="{9F0F78F8-60F2-FB40-ACE6-A8E46E10A1BB}" type="parTrans" cxnId="{1E5CE1B3-6395-C843-B3EF-0F8FAF4FD5BD}">
      <dgm:prSet/>
      <dgm:spPr/>
      <dgm:t>
        <a:bodyPr/>
        <a:lstStyle/>
        <a:p>
          <a:endParaRPr lang="en-US" sz="2800" b="1"/>
        </a:p>
      </dgm:t>
    </dgm:pt>
    <dgm:pt modelId="{47C8D04F-C358-9A48-B736-2D8B40E8D061}" type="sibTrans" cxnId="{1E5CE1B3-6395-C843-B3EF-0F8FAF4FD5BD}">
      <dgm:prSet/>
      <dgm:spPr/>
      <dgm:t>
        <a:bodyPr/>
        <a:lstStyle/>
        <a:p>
          <a:endParaRPr lang="en-US" sz="2800" b="1"/>
        </a:p>
      </dgm:t>
    </dgm:pt>
    <dgm:pt modelId="{8F051BCC-AB3B-394F-ADE0-550A8288E9D1}">
      <dgm:prSet custT="1"/>
      <dgm:spPr/>
      <dgm:t>
        <a:bodyPr/>
        <a:lstStyle/>
        <a:p>
          <a:r>
            <a:rPr lang="en-US" sz="1200" b="1" dirty="0" err="1"/>
            <a:t>Compatib-ility</a:t>
          </a:r>
          <a:endParaRPr lang="en-US" sz="1200" b="1" dirty="0"/>
        </a:p>
      </dgm:t>
    </dgm:pt>
    <dgm:pt modelId="{70BF84AD-BF26-A249-B0E7-CCCCE1D37B64}" type="parTrans" cxnId="{F7B636A9-3F1D-4E4B-BBB1-A7922D6922B2}">
      <dgm:prSet/>
      <dgm:spPr/>
      <dgm:t>
        <a:bodyPr/>
        <a:lstStyle/>
        <a:p>
          <a:endParaRPr lang="en-US" sz="2800" b="1"/>
        </a:p>
      </dgm:t>
    </dgm:pt>
    <dgm:pt modelId="{2E3D6173-BE70-F34B-950B-1C3702EC581B}" type="sibTrans" cxnId="{F7B636A9-3F1D-4E4B-BBB1-A7922D6922B2}">
      <dgm:prSet/>
      <dgm:spPr/>
      <dgm:t>
        <a:bodyPr/>
        <a:lstStyle/>
        <a:p>
          <a:endParaRPr lang="en-US" sz="2800" b="1"/>
        </a:p>
      </dgm:t>
    </dgm:pt>
    <dgm:pt modelId="{598FE064-F072-2E43-BEAE-80E649AEA9AE}">
      <dgm:prSet custT="1"/>
      <dgm:spPr/>
      <dgm:t>
        <a:bodyPr/>
        <a:lstStyle/>
        <a:p>
          <a:r>
            <a:rPr lang="en-US" sz="1000" b="1"/>
            <a:t>Interop-erability</a:t>
          </a:r>
          <a:endParaRPr lang="en-US" sz="1000" b="1" dirty="0"/>
        </a:p>
      </dgm:t>
    </dgm:pt>
    <dgm:pt modelId="{224B842B-4E55-914D-977A-0FFA6511356C}" type="parTrans" cxnId="{6CB113AA-9DEA-194E-B4B1-C591C50EA489}">
      <dgm:prSet/>
      <dgm:spPr/>
      <dgm:t>
        <a:bodyPr/>
        <a:lstStyle/>
        <a:p>
          <a:endParaRPr lang="en-US" sz="2800" b="1"/>
        </a:p>
      </dgm:t>
    </dgm:pt>
    <dgm:pt modelId="{BF168AA6-8FD0-D546-926D-CD54C2D9060A}" type="sibTrans" cxnId="{6CB113AA-9DEA-194E-B4B1-C591C50EA489}">
      <dgm:prSet/>
      <dgm:spPr/>
      <dgm:t>
        <a:bodyPr/>
        <a:lstStyle/>
        <a:p>
          <a:endParaRPr lang="en-US" sz="2800" b="1"/>
        </a:p>
      </dgm:t>
    </dgm:pt>
    <dgm:pt modelId="{E6E223AD-5E94-2440-8F3B-B6DE336C4CEC}">
      <dgm:prSet custT="1"/>
      <dgm:spPr/>
      <dgm:t>
        <a:bodyPr/>
        <a:lstStyle/>
        <a:p>
          <a:r>
            <a:rPr lang="en-US" sz="1000" b="1" dirty="0"/>
            <a:t>Co-existence</a:t>
          </a:r>
        </a:p>
      </dgm:t>
    </dgm:pt>
    <dgm:pt modelId="{7E0FC8F8-EB3C-C748-BAEB-624230241256}" type="parTrans" cxnId="{89AA0514-B813-FC49-9C07-87B67F6A64C2}">
      <dgm:prSet/>
      <dgm:spPr/>
      <dgm:t>
        <a:bodyPr/>
        <a:lstStyle/>
        <a:p>
          <a:endParaRPr lang="en-US" sz="2800" b="1"/>
        </a:p>
      </dgm:t>
    </dgm:pt>
    <dgm:pt modelId="{BCD642E1-79CF-A944-A179-9D259CAED5F2}" type="sibTrans" cxnId="{89AA0514-B813-FC49-9C07-87B67F6A64C2}">
      <dgm:prSet/>
      <dgm:spPr/>
      <dgm:t>
        <a:bodyPr/>
        <a:lstStyle/>
        <a:p>
          <a:endParaRPr lang="en-US" sz="2800" b="1"/>
        </a:p>
      </dgm:t>
    </dgm:pt>
    <dgm:pt modelId="{AC1C2011-E47F-F24C-8B7C-4E3BC1DFAB2D}">
      <dgm:prSet custT="1"/>
      <dgm:spPr/>
      <dgm:t>
        <a:bodyPr/>
        <a:lstStyle/>
        <a:p>
          <a:r>
            <a:rPr lang="en-US" sz="1200" b="1" dirty="0"/>
            <a:t>Usability</a:t>
          </a:r>
        </a:p>
      </dgm:t>
    </dgm:pt>
    <dgm:pt modelId="{875C913E-520C-F54F-B29E-C519013B05EF}" type="parTrans" cxnId="{F166A007-9572-FC4E-A4C0-A1502C01C84F}">
      <dgm:prSet/>
      <dgm:spPr/>
      <dgm:t>
        <a:bodyPr/>
        <a:lstStyle/>
        <a:p>
          <a:endParaRPr lang="en-US" sz="2800" b="1"/>
        </a:p>
      </dgm:t>
    </dgm:pt>
    <dgm:pt modelId="{822AF7AC-50EA-A147-96D3-4CCEFC7F8215}" type="sibTrans" cxnId="{F166A007-9572-FC4E-A4C0-A1502C01C84F}">
      <dgm:prSet/>
      <dgm:spPr/>
      <dgm:t>
        <a:bodyPr/>
        <a:lstStyle/>
        <a:p>
          <a:endParaRPr lang="en-US" sz="2800" b="1"/>
        </a:p>
      </dgm:t>
    </dgm:pt>
    <dgm:pt modelId="{B0893E9D-79A1-714C-9815-3E92244E91ED}">
      <dgm:prSet custT="1"/>
      <dgm:spPr/>
      <dgm:t>
        <a:bodyPr/>
        <a:lstStyle/>
        <a:p>
          <a:r>
            <a:rPr lang="en-US" sz="1000" b="1" dirty="0"/>
            <a:t>Operability </a:t>
          </a:r>
        </a:p>
      </dgm:t>
    </dgm:pt>
    <dgm:pt modelId="{BE09F905-F57D-3A41-B986-6174F9DE9EF6}" type="parTrans" cxnId="{970C8F44-585A-5948-930E-9E835ABDD018}">
      <dgm:prSet/>
      <dgm:spPr/>
      <dgm:t>
        <a:bodyPr/>
        <a:lstStyle/>
        <a:p>
          <a:endParaRPr lang="en-US" sz="2800" b="1"/>
        </a:p>
      </dgm:t>
    </dgm:pt>
    <dgm:pt modelId="{9716B081-0A92-BB46-BEA7-6085DD96F792}" type="sibTrans" cxnId="{970C8F44-585A-5948-930E-9E835ABDD018}">
      <dgm:prSet/>
      <dgm:spPr/>
      <dgm:t>
        <a:bodyPr/>
        <a:lstStyle/>
        <a:p>
          <a:endParaRPr lang="en-US" sz="2800" b="1"/>
        </a:p>
      </dgm:t>
    </dgm:pt>
    <dgm:pt modelId="{B38F1EE6-D813-644B-B80E-DC72FD03A0A2}">
      <dgm:prSet custT="1"/>
      <dgm:spPr/>
      <dgm:t>
        <a:bodyPr/>
        <a:lstStyle/>
        <a:p>
          <a:r>
            <a:rPr lang="en-US" sz="1000" b="1" dirty="0"/>
            <a:t>User error protection</a:t>
          </a:r>
        </a:p>
      </dgm:t>
    </dgm:pt>
    <dgm:pt modelId="{35DE522F-B866-F941-BC4D-91F450E2F441}" type="parTrans" cxnId="{FD352A94-4692-BA4B-AFBA-53ED2D5C7456}">
      <dgm:prSet/>
      <dgm:spPr/>
      <dgm:t>
        <a:bodyPr/>
        <a:lstStyle/>
        <a:p>
          <a:endParaRPr lang="en-US" sz="2800" b="1"/>
        </a:p>
      </dgm:t>
    </dgm:pt>
    <dgm:pt modelId="{D872DCFB-4FCB-0A4F-8B9F-20D50B54D705}" type="sibTrans" cxnId="{FD352A94-4692-BA4B-AFBA-53ED2D5C7456}">
      <dgm:prSet/>
      <dgm:spPr/>
      <dgm:t>
        <a:bodyPr/>
        <a:lstStyle/>
        <a:p>
          <a:endParaRPr lang="en-US" sz="2800" b="1"/>
        </a:p>
      </dgm:t>
    </dgm:pt>
    <dgm:pt modelId="{0E8CD457-DF9A-854A-B772-A66C169B0588}">
      <dgm:prSet custT="1"/>
      <dgm:spPr/>
      <dgm:t>
        <a:bodyPr/>
        <a:lstStyle/>
        <a:p>
          <a:r>
            <a:rPr lang="en-US" sz="1200" b="1" dirty="0"/>
            <a:t>Reliability</a:t>
          </a:r>
        </a:p>
      </dgm:t>
    </dgm:pt>
    <dgm:pt modelId="{08F59359-C013-7E47-94F6-E90D860A58DF}" type="parTrans" cxnId="{F60A0691-5045-394F-956D-7F5888590301}">
      <dgm:prSet/>
      <dgm:spPr/>
      <dgm:t>
        <a:bodyPr/>
        <a:lstStyle/>
        <a:p>
          <a:endParaRPr lang="en-US" sz="2800" b="1"/>
        </a:p>
      </dgm:t>
    </dgm:pt>
    <dgm:pt modelId="{8E08FD71-FC03-CB42-A5BD-73669B7ED237}" type="sibTrans" cxnId="{F60A0691-5045-394F-956D-7F5888590301}">
      <dgm:prSet/>
      <dgm:spPr/>
      <dgm:t>
        <a:bodyPr/>
        <a:lstStyle/>
        <a:p>
          <a:endParaRPr lang="en-US" sz="2800" b="1"/>
        </a:p>
      </dgm:t>
    </dgm:pt>
    <dgm:pt modelId="{D01FFA2E-324C-4F44-8F5B-1D93BA14C37D}">
      <dgm:prSet custT="1"/>
      <dgm:spPr/>
      <dgm:t>
        <a:bodyPr/>
        <a:lstStyle/>
        <a:p>
          <a:r>
            <a:rPr lang="en-US" sz="1000" b="1"/>
            <a:t>Availability</a:t>
          </a:r>
          <a:endParaRPr lang="en-US" sz="1000" b="1" dirty="0"/>
        </a:p>
      </dgm:t>
    </dgm:pt>
    <dgm:pt modelId="{883F9595-6196-5F40-B439-137031A0CA92}" type="parTrans" cxnId="{F1127820-0574-C84E-A90D-0BDE230F30CE}">
      <dgm:prSet/>
      <dgm:spPr/>
      <dgm:t>
        <a:bodyPr/>
        <a:lstStyle/>
        <a:p>
          <a:endParaRPr lang="en-US" sz="2800" b="1"/>
        </a:p>
      </dgm:t>
    </dgm:pt>
    <dgm:pt modelId="{B6B99295-B775-EA45-BDE7-A0F66DFE49C2}" type="sibTrans" cxnId="{F1127820-0574-C84E-A90D-0BDE230F30CE}">
      <dgm:prSet/>
      <dgm:spPr/>
      <dgm:t>
        <a:bodyPr/>
        <a:lstStyle/>
        <a:p>
          <a:endParaRPr lang="en-US" sz="2800" b="1"/>
        </a:p>
      </dgm:t>
    </dgm:pt>
    <dgm:pt modelId="{16038EE6-6BF3-4B48-9980-ACC7A6420663}">
      <dgm:prSet custT="1"/>
      <dgm:spPr/>
      <dgm:t>
        <a:bodyPr/>
        <a:lstStyle/>
        <a:p>
          <a:r>
            <a:rPr lang="en-US" sz="1000" b="1" dirty="0" err="1"/>
            <a:t>Recoverab-ility</a:t>
          </a:r>
          <a:endParaRPr lang="en-US" sz="1000" b="1" dirty="0"/>
        </a:p>
      </dgm:t>
    </dgm:pt>
    <dgm:pt modelId="{AE8F0254-C357-F34A-B5AE-12FF6C1B5C26}" type="parTrans" cxnId="{9CB096C1-9AF6-1945-B1A9-5046E66C8772}">
      <dgm:prSet/>
      <dgm:spPr/>
      <dgm:t>
        <a:bodyPr/>
        <a:lstStyle/>
        <a:p>
          <a:endParaRPr lang="en-US" sz="2800" b="1"/>
        </a:p>
      </dgm:t>
    </dgm:pt>
    <dgm:pt modelId="{0B8419AD-1F4A-364B-AB5A-51FA3B4CE4AF}" type="sibTrans" cxnId="{9CB096C1-9AF6-1945-B1A9-5046E66C8772}">
      <dgm:prSet/>
      <dgm:spPr/>
      <dgm:t>
        <a:bodyPr/>
        <a:lstStyle/>
        <a:p>
          <a:endParaRPr lang="en-US" sz="2800" b="1"/>
        </a:p>
      </dgm:t>
    </dgm:pt>
    <dgm:pt modelId="{8DC7C76D-6C75-D742-A16F-9E797B71B627}">
      <dgm:prSet custT="1"/>
      <dgm:spPr/>
      <dgm:t>
        <a:bodyPr/>
        <a:lstStyle/>
        <a:p>
          <a:r>
            <a:rPr lang="en-US" sz="1000" b="1" dirty="0"/>
            <a:t>Maturity </a:t>
          </a:r>
        </a:p>
      </dgm:t>
    </dgm:pt>
    <dgm:pt modelId="{B41E6929-1A8C-EF44-A394-950681650A9E}" type="parTrans" cxnId="{5DBEB98B-738C-ED4F-AD67-E2390B57594D}">
      <dgm:prSet/>
      <dgm:spPr/>
      <dgm:t>
        <a:bodyPr/>
        <a:lstStyle/>
        <a:p>
          <a:endParaRPr lang="en-US" sz="2800" b="1"/>
        </a:p>
      </dgm:t>
    </dgm:pt>
    <dgm:pt modelId="{8FDA92A6-7F3E-944A-8CB4-9242580083D3}" type="sibTrans" cxnId="{5DBEB98B-738C-ED4F-AD67-E2390B57594D}">
      <dgm:prSet/>
      <dgm:spPr/>
      <dgm:t>
        <a:bodyPr/>
        <a:lstStyle/>
        <a:p>
          <a:endParaRPr lang="en-US" sz="2800" b="1"/>
        </a:p>
      </dgm:t>
    </dgm:pt>
    <dgm:pt modelId="{3C53D9CB-B49A-1041-B36E-C876B26C0664}">
      <dgm:prSet custT="1"/>
      <dgm:spPr/>
      <dgm:t>
        <a:bodyPr/>
        <a:lstStyle/>
        <a:p>
          <a:r>
            <a:rPr lang="en-US" sz="1000" b="1" dirty="0"/>
            <a:t>Fault tolerance </a:t>
          </a:r>
        </a:p>
      </dgm:t>
    </dgm:pt>
    <dgm:pt modelId="{9C1B7D37-0A7C-4146-A31B-21D8316E2833}" type="parTrans" cxnId="{107154C8-A30F-114D-8393-F817D0900E82}">
      <dgm:prSet/>
      <dgm:spPr/>
      <dgm:t>
        <a:bodyPr/>
        <a:lstStyle/>
        <a:p>
          <a:endParaRPr lang="en-US" sz="2800" b="1"/>
        </a:p>
      </dgm:t>
    </dgm:pt>
    <dgm:pt modelId="{A56BD4CF-F2CB-3D42-B050-868112FD307A}" type="sibTrans" cxnId="{107154C8-A30F-114D-8393-F817D0900E82}">
      <dgm:prSet/>
      <dgm:spPr/>
      <dgm:t>
        <a:bodyPr/>
        <a:lstStyle/>
        <a:p>
          <a:endParaRPr lang="en-US" sz="2800" b="1"/>
        </a:p>
      </dgm:t>
    </dgm:pt>
    <dgm:pt modelId="{00D42E72-3F24-5446-A532-B962CD556993}">
      <dgm:prSet custT="1"/>
      <dgm:spPr/>
      <dgm:t>
        <a:bodyPr/>
        <a:lstStyle/>
        <a:p>
          <a:r>
            <a:rPr lang="en-US" sz="1200" b="1" dirty="0"/>
            <a:t>Security </a:t>
          </a:r>
        </a:p>
      </dgm:t>
    </dgm:pt>
    <dgm:pt modelId="{018CBCAC-7E13-DC4B-ABAF-4151D091C23E}" type="parTrans" cxnId="{5FE271AD-91AB-E540-8168-456A5C5F4FCA}">
      <dgm:prSet/>
      <dgm:spPr/>
      <dgm:t>
        <a:bodyPr/>
        <a:lstStyle/>
        <a:p>
          <a:endParaRPr lang="en-US" sz="2800" b="1"/>
        </a:p>
      </dgm:t>
    </dgm:pt>
    <dgm:pt modelId="{159A85A7-45FC-764B-8BDD-34079D757EA7}" type="sibTrans" cxnId="{5FE271AD-91AB-E540-8168-456A5C5F4FCA}">
      <dgm:prSet/>
      <dgm:spPr/>
      <dgm:t>
        <a:bodyPr/>
        <a:lstStyle/>
        <a:p>
          <a:endParaRPr lang="en-US" sz="2800" b="1"/>
        </a:p>
      </dgm:t>
    </dgm:pt>
    <dgm:pt modelId="{A6D7EFB5-A92E-044B-B43F-51922C0DC9A0}">
      <dgm:prSet custT="1"/>
      <dgm:spPr/>
      <dgm:t>
        <a:bodyPr/>
        <a:lstStyle/>
        <a:p>
          <a:r>
            <a:rPr lang="en-US" sz="1000" b="1"/>
            <a:t>Integrity </a:t>
          </a:r>
          <a:endParaRPr lang="en-US" sz="1000" b="1" dirty="0"/>
        </a:p>
      </dgm:t>
    </dgm:pt>
    <dgm:pt modelId="{457D7804-6648-244C-B977-5FFA990152B3}" type="parTrans" cxnId="{1E6AFF6D-FD10-F540-B9E2-6756D4679939}">
      <dgm:prSet/>
      <dgm:spPr/>
      <dgm:t>
        <a:bodyPr/>
        <a:lstStyle/>
        <a:p>
          <a:endParaRPr lang="en-US" sz="2800" b="1"/>
        </a:p>
      </dgm:t>
    </dgm:pt>
    <dgm:pt modelId="{58A1200A-74DE-DC4C-BAC0-FA8EE5C767D2}" type="sibTrans" cxnId="{1E6AFF6D-FD10-F540-B9E2-6756D4679939}">
      <dgm:prSet/>
      <dgm:spPr/>
      <dgm:t>
        <a:bodyPr/>
        <a:lstStyle/>
        <a:p>
          <a:endParaRPr lang="en-US" sz="2800" b="1"/>
        </a:p>
      </dgm:t>
    </dgm:pt>
    <dgm:pt modelId="{69292C06-EF1C-1D4C-A419-4BBF1A78C12B}">
      <dgm:prSet custT="1"/>
      <dgm:spPr/>
      <dgm:t>
        <a:bodyPr/>
        <a:lstStyle/>
        <a:p>
          <a:r>
            <a:rPr lang="en-US" sz="1000" b="1"/>
            <a:t>Confidential-ity</a:t>
          </a:r>
          <a:endParaRPr lang="en-US" sz="1000" b="1" dirty="0"/>
        </a:p>
      </dgm:t>
    </dgm:pt>
    <dgm:pt modelId="{7F9F97BE-5130-EC47-A26F-5CE7B8699020}" type="parTrans" cxnId="{771C1A6A-AF9B-F14A-ABCF-24B1ABDA5FE1}">
      <dgm:prSet/>
      <dgm:spPr/>
      <dgm:t>
        <a:bodyPr/>
        <a:lstStyle/>
        <a:p>
          <a:endParaRPr lang="en-US" sz="2800" b="1"/>
        </a:p>
      </dgm:t>
    </dgm:pt>
    <dgm:pt modelId="{11D7078B-256A-0541-9889-01991EA840FB}" type="sibTrans" cxnId="{771C1A6A-AF9B-F14A-ABCF-24B1ABDA5FE1}">
      <dgm:prSet/>
      <dgm:spPr/>
      <dgm:t>
        <a:bodyPr/>
        <a:lstStyle/>
        <a:p>
          <a:endParaRPr lang="en-US" sz="2800" b="1"/>
        </a:p>
      </dgm:t>
    </dgm:pt>
    <dgm:pt modelId="{054BC13C-9C64-9E41-9173-145D9B78BD94}">
      <dgm:prSet custT="1"/>
      <dgm:spPr/>
      <dgm:t>
        <a:bodyPr/>
        <a:lstStyle/>
        <a:p>
          <a:r>
            <a:rPr lang="en-US" sz="1000" b="1"/>
            <a:t>Non-repudiation</a:t>
          </a:r>
          <a:endParaRPr lang="en-US" sz="1000" b="1" dirty="0"/>
        </a:p>
      </dgm:t>
    </dgm:pt>
    <dgm:pt modelId="{2BB9B9E4-5FE5-D147-BAFC-E8ED24A73C6D}" type="parTrans" cxnId="{B7903AE4-8E49-024E-B1CD-62002BD104ED}">
      <dgm:prSet/>
      <dgm:spPr/>
      <dgm:t>
        <a:bodyPr/>
        <a:lstStyle/>
        <a:p>
          <a:endParaRPr lang="en-US" sz="2800" b="1"/>
        </a:p>
      </dgm:t>
    </dgm:pt>
    <dgm:pt modelId="{E99AEB17-6B59-8941-83C7-A066A176A5C1}" type="sibTrans" cxnId="{B7903AE4-8E49-024E-B1CD-62002BD104ED}">
      <dgm:prSet/>
      <dgm:spPr/>
      <dgm:t>
        <a:bodyPr/>
        <a:lstStyle/>
        <a:p>
          <a:endParaRPr lang="en-US" sz="2800" b="1"/>
        </a:p>
      </dgm:t>
    </dgm:pt>
    <dgm:pt modelId="{E18C2833-A402-AE40-AFC4-1A0012C0626B}">
      <dgm:prSet custT="1"/>
      <dgm:spPr/>
      <dgm:t>
        <a:bodyPr/>
        <a:lstStyle/>
        <a:p>
          <a:r>
            <a:rPr lang="en-US" sz="1000" b="1"/>
            <a:t>Accountab-ility</a:t>
          </a:r>
          <a:endParaRPr lang="en-US" sz="1000" b="1" dirty="0"/>
        </a:p>
      </dgm:t>
    </dgm:pt>
    <dgm:pt modelId="{5A68C619-65D3-114E-9776-3746F139E5CA}" type="parTrans" cxnId="{5E14102D-7084-FA4C-AAEB-7A45B235F0D7}">
      <dgm:prSet/>
      <dgm:spPr/>
      <dgm:t>
        <a:bodyPr/>
        <a:lstStyle/>
        <a:p>
          <a:endParaRPr lang="en-US" sz="2800" b="1"/>
        </a:p>
      </dgm:t>
    </dgm:pt>
    <dgm:pt modelId="{42B1A76F-E8A5-F741-9656-0220FB356D62}" type="sibTrans" cxnId="{5E14102D-7084-FA4C-AAEB-7A45B235F0D7}">
      <dgm:prSet/>
      <dgm:spPr/>
      <dgm:t>
        <a:bodyPr/>
        <a:lstStyle/>
        <a:p>
          <a:endParaRPr lang="en-US" sz="2800" b="1"/>
        </a:p>
      </dgm:t>
    </dgm:pt>
    <dgm:pt modelId="{3249E403-7B42-E041-AB57-0829AE25A092}">
      <dgm:prSet custT="1"/>
      <dgm:spPr/>
      <dgm:t>
        <a:bodyPr/>
        <a:lstStyle/>
        <a:p>
          <a:r>
            <a:rPr lang="en-US" sz="1000" b="1"/>
            <a:t>Authent-icity</a:t>
          </a:r>
          <a:endParaRPr lang="en-US" sz="1000" b="1" dirty="0"/>
        </a:p>
      </dgm:t>
    </dgm:pt>
    <dgm:pt modelId="{A5B5B806-C405-5C4C-8827-00133AAE07B2}" type="parTrans" cxnId="{4544BC6D-CC7F-2D44-8851-9CD7A2C4CDC3}">
      <dgm:prSet/>
      <dgm:spPr/>
      <dgm:t>
        <a:bodyPr/>
        <a:lstStyle/>
        <a:p>
          <a:endParaRPr lang="en-US" sz="2800" b="1"/>
        </a:p>
      </dgm:t>
    </dgm:pt>
    <dgm:pt modelId="{98164AA1-8FDF-1F4F-B189-E9577350CB76}" type="sibTrans" cxnId="{4544BC6D-CC7F-2D44-8851-9CD7A2C4CDC3}">
      <dgm:prSet/>
      <dgm:spPr/>
      <dgm:t>
        <a:bodyPr/>
        <a:lstStyle/>
        <a:p>
          <a:endParaRPr lang="en-US" sz="2800" b="1"/>
        </a:p>
      </dgm:t>
    </dgm:pt>
    <dgm:pt modelId="{7A93B62C-5C6F-AC4F-8A7C-ED6B585841C1}">
      <dgm:prSet custT="1"/>
      <dgm:spPr/>
      <dgm:t>
        <a:bodyPr/>
        <a:lstStyle/>
        <a:p>
          <a:r>
            <a:rPr lang="en-US" sz="1200" b="1" dirty="0"/>
            <a:t>Maintain-ability</a:t>
          </a:r>
        </a:p>
      </dgm:t>
    </dgm:pt>
    <dgm:pt modelId="{209C471E-D42A-FA46-93C8-24BE0E89AD9A}" type="parTrans" cxnId="{58FB9503-7E52-BC44-A1F9-12574B538CBE}">
      <dgm:prSet/>
      <dgm:spPr/>
      <dgm:t>
        <a:bodyPr/>
        <a:lstStyle/>
        <a:p>
          <a:endParaRPr lang="en-US" sz="2800" b="1"/>
        </a:p>
      </dgm:t>
    </dgm:pt>
    <dgm:pt modelId="{2C9C703C-A18F-5A4C-819B-12AE8BD3C33E}" type="sibTrans" cxnId="{58FB9503-7E52-BC44-A1F9-12574B538CBE}">
      <dgm:prSet/>
      <dgm:spPr/>
      <dgm:t>
        <a:bodyPr/>
        <a:lstStyle/>
        <a:p>
          <a:endParaRPr lang="en-US" sz="2800" b="1"/>
        </a:p>
      </dgm:t>
    </dgm:pt>
    <dgm:pt modelId="{95F28B24-1712-6849-B4D1-E5648E216B92}">
      <dgm:prSet custT="1"/>
      <dgm:spPr/>
      <dgm:t>
        <a:bodyPr/>
        <a:lstStyle/>
        <a:p>
          <a:r>
            <a:rPr lang="en-US" sz="1000" b="1"/>
            <a:t>Modularity</a:t>
          </a:r>
          <a:endParaRPr lang="en-US" sz="1000" b="1" dirty="0"/>
        </a:p>
      </dgm:t>
    </dgm:pt>
    <dgm:pt modelId="{6FA5CCA6-E064-CA4E-A237-3841FE7B18E9}" type="parTrans" cxnId="{6446CAE3-D817-F244-A5BF-7012A89501D4}">
      <dgm:prSet/>
      <dgm:spPr/>
      <dgm:t>
        <a:bodyPr/>
        <a:lstStyle/>
        <a:p>
          <a:endParaRPr lang="en-US" sz="2800" b="1"/>
        </a:p>
      </dgm:t>
    </dgm:pt>
    <dgm:pt modelId="{85060FCB-9889-A04A-A20E-FA173D032DFF}" type="sibTrans" cxnId="{6446CAE3-D817-F244-A5BF-7012A89501D4}">
      <dgm:prSet/>
      <dgm:spPr/>
      <dgm:t>
        <a:bodyPr/>
        <a:lstStyle/>
        <a:p>
          <a:endParaRPr lang="en-US" sz="2800" b="1"/>
        </a:p>
      </dgm:t>
    </dgm:pt>
    <dgm:pt modelId="{4EE57A1C-0DB5-1F49-B834-B315C0F65072}">
      <dgm:prSet custT="1"/>
      <dgm:spPr/>
      <dgm:t>
        <a:bodyPr/>
        <a:lstStyle/>
        <a:p>
          <a:r>
            <a:rPr lang="en-US" sz="1000" b="1" dirty="0" err="1"/>
            <a:t>Reuseability</a:t>
          </a:r>
          <a:endParaRPr lang="en-US" sz="1000" b="1" dirty="0"/>
        </a:p>
      </dgm:t>
    </dgm:pt>
    <dgm:pt modelId="{EC44253B-0648-334C-A54A-72CE77C60696}" type="parTrans" cxnId="{3E7EFA84-5E35-C846-8C47-63D027B2E805}">
      <dgm:prSet/>
      <dgm:spPr/>
      <dgm:t>
        <a:bodyPr/>
        <a:lstStyle/>
        <a:p>
          <a:endParaRPr lang="en-US" sz="2800" b="1"/>
        </a:p>
      </dgm:t>
    </dgm:pt>
    <dgm:pt modelId="{629D1C23-38C7-5F40-A941-195B4EBC56DE}" type="sibTrans" cxnId="{3E7EFA84-5E35-C846-8C47-63D027B2E805}">
      <dgm:prSet/>
      <dgm:spPr/>
      <dgm:t>
        <a:bodyPr/>
        <a:lstStyle/>
        <a:p>
          <a:endParaRPr lang="en-US" sz="2800" b="1"/>
        </a:p>
      </dgm:t>
    </dgm:pt>
    <dgm:pt modelId="{95CB294F-A2D2-EE47-AB33-C7A9CB36A488}">
      <dgm:prSet custT="1"/>
      <dgm:spPr/>
      <dgm:t>
        <a:bodyPr/>
        <a:lstStyle/>
        <a:p>
          <a:r>
            <a:rPr lang="en-US" sz="1000" b="1" dirty="0" err="1"/>
            <a:t>Modifiab-ility</a:t>
          </a:r>
          <a:endParaRPr lang="en-US" sz="1000" b="1" dirty="0"/>
        </a:p>
      </dgm:t>
    </dgm:pt>
    <dgm:pt modelId="{5354B16A-E11E-1D48-AAFB-7D240D6642F5}" type="parTrans" cxnId="{174E45C5-3B6F-E94E-9A87-07B24C3F8DEE}">
      <dgm:prSet/>
      <dgm:spPr/>
      <dgm:t>
        <a:bodyPr/>
        <a:lstStyle/>
        <a:p>
          <a:endParaRPr lang="en-US" sz="2800" b="1"/>
        </a:p>
      </dgm:t>
    </dgm:pt>
    <dgm:pt modelId="{1EC4D161-9293-3849-AB95-3B40B45A1BB7}" type="sibTrans" cxnId="{174E45C5-3B6F-E94E-9A87-07B24C3F8DEE}">
      <dgm:prSet/>
      <dgm:spPr/>
      <dgm:t>
        <a:bodyPr/>
        <a:lstStyle/>
        <a:p>
          <a:endParaRPr lang="en-US" sz="2800" b="1"/>
        </a:p>
      </dgm:t>
    </dgm:pt>
    <dgm:pt modelId="{A8A21FA9-2703-0548-B6F7-AD6E73BDA1AE}">
      <dgm:prSet custT="1"/>
      <dgm:spPr/>
      <dgm:t>
        <a:bodyPr/>
        <a:lstStyle/>
        <a:p>
          <a:r>
            <a:rPr lang="en-US" sz="1000" b="1" dirty="0"/>
            <a:t>Testability</a:t>
          </a:r>
        </a:p>
      </dgm:t>
    </dgm:pt>
    <dgm:pt modelId="{C464E591-CEA1-414D-AB66-7269B863E3A7}" type="parTrans" cxnId="{9C44E8B8-8AD9-374F-AB5A-E0DFD97DEBC9}">
      <dgm:prSet/>
      <dgm:spPr/>
      <dgm:t>
        <a:bodyPr/>
        <a:lstStyle/>
        <a:p>
          <a:endParaRPr lang="en-US" sz="2800" b="1"/>
        </a:p>
      </dgm:t>
    </dgm:pt>
    <dgm:pt modelId="{AAE35E0D-BBED-974A-8345-D01C85A9A5C3}" type="sibTrans" cxnId="{9C44E8B8-8AD9-374F-AB5A-E0DFD97DEBC9}">
      <dgm:prSet/>
      <dgm:spPr/>
      <dgm:t>
        <a:bodyPr/>
        <a:lstStyle/>
        <a:p>
          <a:endParaRPr lang="en-US" sz="2800" b="1"/>
        </a:p>
      </dgm:t>
    </dgm:pt>
    <dgm:pt modelId="{E9A3D690-F538-1640-BA5A-DA7EF97EEB32}">
      <dgm:prSet custT="1"/>
      <dgm:spPr/>
      <dgm:t>
        <a:bodyPr/>
        <a:lstStyle/>
        <a:p>
          <a:r>
            <a:rPr lang="en-US" sz="1000" b="1" dirty="0" err="1"/>
            <a:t>Analyzab-ility</a:t>
          </a:r>
          <a:endParaRPr lang="en-US" sz="1000" b="1" dirty="0"/>
        </a:p>
      </dgm:t>
    </dgm:pt>
    <dgm:pt modelId="{971C1B5D-67F7-F748-8432-22B7AA5C243E}" type="parTrans" cxnId="{43692E34-E085-3749-8CF1-151B2F9F1C8E}">
      <dgm:prSet/>
      <dgm:spPr/>
      <dgm:t>
        <a:bodyPr/>
        <a:lstStyle/>
        <a:p>
          <a:endParaRPr lang="en-US" sz="2800" b="1"/>
        </a:p>
      </dgm:t>
    </dgm:pt>
    <dgm:pt modelId="{79022E51-1F17-8546-9AC8-3171512E16F1}" type="sibTrans" cxnId="{43692E34-E085-3749-8CF1-151B2F9F1C8E}">
      <dgm:prSet/>
      <dgm:spPr/>
      <dgm:t>
        <a:bodyPr/>
        <a:lstStyle/>
        <a:p>
          <a:endParaRPr lang="en-US" sz="2800" b="1"/>
        </a:p>
      </dgm:t>
    </dgm:pt>
    <dgm:pt modelId="{05F23BCB-22AA-E245-BA73-9BF467A5A01F}">
      <dgm:prSet custT="1"/>
      <dgm:spPr/>
      <dgm:t>
        <a:bodyPr/>
        <a:lstStyle/>
        <a:p>
          <a:r>
            <a:rPr lang="en-US" sz="1200" b="1" dirty="0"/>
            <a:t>Portability</a:t>
          </a:r>
        </a:p>
      </dgm:t>
    </dgm:pt>
    <dgm:pt modelId="{A7E108D9-D194-FE4F-8C1B-3BFABDB65787}" type="parTrans" cxnId="{0B966AC9-2325-1E4E-B0C8-2C19E55D858E}">
      <dgm:prSet/>
      <dgm:spPr/>
      <dgm:t>
        <a:bodyPr/>
        <a:lstStyle/>
        <a:p>
          <a:endParaRPr lang="en-US" sz="2800" b="1"/>
        </a:p>
      </dgm:t>
    </dgm:pt>
    <dgm:pt modelId="{5382DFFD-E064-1D40-BAEB-F6C25F6107AE}" type="sibTrans" cxnId="{0B966AC9-2325-1E4E-B0C8-2C19E55D858E}">
      <dgm:prSet/>
      <dgm:spPr/>
      <dgm:t>
        <a:bodyPr/>
        <a:lstStyle/>
        <a:p>
          <a:endParaRPr lang="en-US" sz="2800" b="1"/>
        </a:p>
      </dgm:t>
    </dgm:pt>
    <dgm:pt modelId="{8AE60BF9-091B-184E-9005-EF4555AA90DF}">
      <dgm:prSet custT="1"/>
      <dgm:spPr/>
      <dgm:t>
        <a:bodyPr/>
        <a:lstStyle/>
        <a:p>
          <a:r>
            <a:rPr lang="en-US" sz="1000" b="1" dirty="0" err="1"/>
            <a:t>Installability</a:t>
          </a:r>
          <a:endParaRPr lang="en-US" sz="1000" b="1" dirty="0"/>
        </a:p>
      </dgm:t>
    </dgm:pt>
    <dgm:pt modelId="{0AE37708-A5CF-DA4C-A40A-ADA98508CC23}" type="parTrans" cxnId="{4CA8B3A9-6F84-F745-A397-B2638DFF7FA3}">
      <dgm:prSet/>
      <dgm:spPr/>
      <dgm:t>
        <a:bodyPr/>
        <a:lstStyle/>
        <a:p>
          <a:endParaRPr lang="en-US" sz="2800" b="1"/>
        </a:p>
      </dgm:t>
    </dgm:pt>
    <dgm:pt modelId="{0DFAB878-B6EC-3647-9263-A4B3AB2CF447}" type="sibTrans" cxnId="{4CA8B3A9-6F84-F745-A397-B2638DFF7FA3}">
      <dgm:prSet/>
      <dgm:spPr/>
      <dgm:t>
        <a:bodyPr/>
        <a:lstStyle/>
        <a:p>
          <a:endParaRPr lang="en-US" sz="2800" b="1"/>
        </a:p>
      </dgm:t>
    </dgm:pt>
    <dgm:pt modelId="{A5365144-998A-224B-BF5C-39352B61A674}">
      <dgm:prSet custT="1"/>
      <dgm:spPr/>
      <dgm:t>
        <a:bodyPr/>
        <a:lstStyle/>
        <a:p>
          <a:r>
            <a:rPr lang="en-US" sz="1000" b="1" dirty="0"/>
            <a:t>Replace-ability</a:t>
          </a:r>
        </a:p>
      </dgm:t>
    </dgm:pt>
    <dgm:pt modelId="{A746390B-A82F-C64B-8145-6D27C88B0E24}" type="parTrans" cxnId="{9A9AB62D-7896-264C-9BC2-3B8F3619D125}">
      <dgm:prSet/>
      <dgm:spPr/>
      <dgm:t>
        <a:bodyPr/>
        <a:lstStyle/>
        <a:p>
          <a:endParaRPr lang="en-US" sz="2800" b="1"/>
        </a:p>
      </dgm:t>
    </dgm:pt>
    <dgm:pt modelId="{7745351C-F63F-B543-AA34-F2D3A0BE0513}" type="sibTrans" cxnId="{9A9AB62D-7896-264C-9BC2-3B8F3619D125}">
      <dgm:prSet/>
      <dgm:spPr/>
      <dgm:t>
        <a:bodyPr/>
        <a:lstStyle/>
        <a:p>
          <a:endParaRPr lang="en-US" sz="2800" b="1"/>
        </a:p>
      </dgm:t>
    </dgm:pt>
    <dgm:pt modelId="{F9D126EF-BE2E-7746-9348-9E369FE47AFA}">
      <dgm:prSet custT="1"/>
      <dgm:spPr/>
      <dgm:t>
        <a:bodyPr/>
        <a:lstStyle/>
        <a:p>
          <a:r>
            <a:rPr lang="en-US" sz="1000" b="1" dirty="0"/>
            <a:t>Adaptability</a:t>
          </a:r>
        </a:p>
      </dgm:t>
    </dgm:pt>
    <dgm:pt modelId="{4B304EE6-B53F-644F-9D12-5306178C6031}" type="parTrans" cxnId="{F81AF2BF-4375-184B-86A7-1E8B65375CB8}">
      <dgm:prSet/>
      <dgm:spPr/>
      <dgm:t>
        <a:bodyPr/>
        <a:lstStyle/>
        <a:p>
          <a:endParaRPr lang="en-US" sz="2800" b="1"/>
        </a:p>
      </dgm:t>
    </dgm:pt>
    <dgm:pt modelId="{C6F6394C-4393-E447-822F-CF280956CC95}" type="sibTrans" cxnId="{F81AF2BF-4375-184B-86A7-1E8B65375CB8}">
      <dgm:prSet/>
      <dgm:spPr/>
      <dgm:t>
        <a:bodyPr/>
        <a:lstStyle/>
        <a:p>
          <a:endParaRPr lang="en-US" sz="2800" b="1"/>
        </a:p>
      </dgm:t>
    </dgm:pt>
    <dgm:pt modelId="{3DA2996A-B9CC-754B-A3CD-41FF8722C935}" type="pres">
      <dgm:prSet presAssocID="{F1F5D922-A647-5945-89E1-2B1158E87E7C}" presName="diagram" presStyleCnt="0">
        <dgm:presLayoutVars>
          <dgm:chPref val="1"/>
          <dgm:dir/>
          <dgm:animOne val="branch"/>
          <dgm:animLvl val="lvl"/>
          <dgm:resizeHandles/>
        </dgm:presLayoutVars>
      </dgm:prSet>
      <dgm:spPr/>
    </dgm:pt>
    <dgm:pt modelId="{F9755A37-50D0-544F-94E1-A8554908B9C7}" type="pres">
      <dgm:prSet presAssocID="{41DCB497-4F67-7240-B1C3-DED53DF245ED}" presName="root" presStyleCnt="0"/>
      <dgm:spPr/>
    </dgm:pt>
    <dgm:pt modelId="{1BEAEB11-0E14-4840-BD0C-C5D28780C2E3}" type="pres">
      <dgm:prSet presAssocID="{41DCB497-4F67-7240-B1C3-DED53DF245ED}" presName="rootComposite" presStyleCnt="0"/>
      <dgm:spPr/>
    </dgm:pt>
    <dgm:pt modelId="{845ED3E6-51AD-1641-949A-0F65BC3E9D79}" type="pres">
      <dgm:prSet presAssocID="{41DCB497-4F67-7240-B1C3-DED53DF245ED}" presName="rootText" presStyleLbl="node1" presStyleIdx="0" presStyleCnt="8"/>
      <dgm:spPr/>
    </dgm:pt>
    <dgm:pt modelId="{79B777F2-00FE-FA4D-9CF1-63BDC88ED8C0}" type="pres">
      <dgm:prSet presAssocID="{41DCB497-4F67-7240-B1C3-DED53DF245ED}" presName="rootConnector" presStyleLbl="node1" presStyleIdx="0" presStyleCnt="8"/>
      <dgm:spPr/>
    </dgm:pt>
    <dgm:pt modelId="{B8CE6112-F86D-E849-B514-086069D887CB}" type="pres">
      <dgm:prSet presAssocID="{41DCB497-4F67-7240-B1C3-DED53DF245ED}" presName="childShape" presStyleCnt="0"/>
      <dgm:spPr/>
    </dgm:pt>
    <dgm:pt modelId="{CEEA02DB-4226-0A4E-9CEE-E4DF1468D4FA}" type="pres">
      <dgm:prSet presAssocID="{05D8882D-F16D-AB43-A3F3-30720E7BFBE0}" presName="Name13" presStyleLbl="parChTrans1D2" presStyleIdx="0" presStyleCnt="27"/>
      <dgm:spPr/>
    </dgm:pt>
    <dgm:pt modelId="{FE0B66B4-D0F6-534A-9FA4-5FFE3999714B}" type="pres">
      <dgm:prSet presAssocID="{53C1FC7C-FB8B-ED43-B796-B56D223ECB81}" presName="childText" presStyleLbl="bgAcc1" presStyleIdx="0" presStyleCnt="27">
        <dgm:presLayoutVars>
          <dgm:bulletEnabled val="1"/>
        </dgm:presLayoutVars>
      </dgm:prSet>
      <dgm:spPr/>
    </dgm:pt>
    <dgm:pt modelId="{0D1F2A58-F3A6-2749-A21E-35A839943671}" type="pres">
      <dgm:prSet presAssocID="{136354CD-7547-0F40-90F8-3C436C8B34AB}" presName="Name13" presStyleLbl="parChTrans1D2" presStyleIdx="1" presStyleCnt="27"/>
      <dgm:spPr/>
    </dgm:pt>
    <dgm:pt modelId="{73301F81-1F1D-3F46-B392-A59C2C4C807C}" type="pres">
      <dgm:prSet presAssocID="{444FF2BE-46A6-0C4D-9D6A-8EF2ABCAD744}" presName="childText" presStyleLbl="bgAcc1" presStyleIdx="1" presStyleCnt="27">
        <dgm:presLayoutVars>
          <dgm:bulletEnabled val="1"/>
        </dgm:presLayoutVars>
      </dgm:prSet>
      <dgm:spPr/>
    </dgm:pt>
    <dgm:pt modelId="{F25706D1-68D7-8C43-A6D7-5B86169F3E21}" type="pres">
      <dgm:prSet presAssocID="{E876EA2D-293D-BC4A-A196-3712A4F5CDB1}" presName="Name13" presStyleLbl="parChTrans1D2" presStyleIdx="2" presStyleCnt="27"/>
      <dgm:spPr/>
    </dgm:pt>
    <dgm:pt modelId="{DDD7714F-70F6-4041-A377-C7AF7CC48C51}" type="pres">
      <dgm:prSet presAssocID="{FD4DD728-38B2-774B-93E8-0922AD3E17ED}" presName="childText" presStyleLbl="bgAcc1" presStyleIdx="2" presStyleCnt="27">
        <dgm:presLayoutVars>
          <dgm:bulletEnabled val="1"/>
        </dgm:presLayoutVars>
      </dgm:prSet>
      <dgm:spPr/>
    </dgm:pt>
    <dgm:pt modelId="{F6F0469B-1C50-4B4D-BF68-CF7F3D49A7AC}" type="pres">
      <dgm:prSet presAssocID="{2F9FF1B4-EA6C-7C4A-A81D-BD01257A79E7}" presName="root" presStyleCnt="0"/>
      <dgm:spPr/>
    </dgm:pt>
    <dgm:pt modelId="{769E2691-6716-7D43-9378-8323DC986804}" type="pres">
      <dgm:prSet presAssocID="{2F9FF1B4-EA6C-7C4A-A81D-BD01257A79E7}" presName="rootComposite" presStyleCnt="0"/>
      <dgm:spPr/>
    </dgm:pt>
    <dgm:pt modelId="{BA133919-C9B4-1F46-8D96-28E5A05EB3DE}" type="pres">
      <dgm:prSet presAssocID="{2F9FF1B4-EA6C-7C4A-A81D-BD01257A79E7}" presName="rootText" presStyleLbl="node1" presStyleIdx="1" presStyleCnt="8"/>
      <dgm:spPr/>
    </dgm:pt>
    <dgm:pt modelId="{C1CC0758-1E89-014B-BCA6-B412B5096445}" type="pres">
      <dgm:prSet presAssocID="{2F9FF1B4-EA6C-7C4A-A81D-BD01257A79E7}" presName="rootConnector" presStyleLbl="node1" presStyleIdx="1" presStyleCnt="8"/>
      <dgm:spPr/>
    </dgm:pt>
    <dgm:pt modelId="{E2153473-BC31-5845-A6D5-1BA6957C2C0E}" type="pres">
      <dgm:prSet presAssocID="{2F9FF1B4-EA6C-7C4A-A81D-BD01257A79E7}" presName="childShape" presStyleCnt="0"/>
      <dgm:spPr/>
    </dgm:pt>
    <dgm:pt modelId="{A9557D1F-C5B3-4E4A-8CE5-F4F68D65AEEB}" type="pres">
      <dgm:prSet presAssocID="{EE9B1C0E-FF5B-F64D-97DA-1EFCDC6AC4F0}" presName="Name13" presStyleLbl="parChTrans1D2" presStyleIdx="3" presStyleCnt="27"/>
      <dgm:spPr/>
    </dgm:pt>
    <dgm:pt modelId="{79124905-5F4B-C442-AA9D-A554D067E1CE}" type="pres">
      <dgm:prSet presAssocID="{FDAB69C9-3BA5-8240-A3EA-4A596500E358}" presName="childText" presStyleLbl="bgAcc1" presStyleIdx="3" presStyleCnt="27">
        <dgm:presLayoutVars>
          <dgm:bulletEnabled val="1"/>
        </dgm:presLayoutVars>
      </dgm:prSet>
      <dgm:spPr/>
    </dgm:pt>
    <dgm:pt modelId="{8AECC5BC-2112-6C47-BA97-C703B279B190}" type="pres">
      <dgm:prSet presAssocID="{3E784F15-FAE9-BB49-95C5-CAC859C56617}" presName="Name13" presStyleLbl="parChTrans1D2" presStyleIdx="4" presStyleCnt="27"/>
      <dgm:spPr/>
    </dgm:pt>
    <dgm:pt modelId="{6023BBE9-C729-A74F-9B11-823A1A565C70}" type="pres">
      <dgm:prSet presAssocID="{299096F4-3ED2-8C4A-9186-AB4A03B8C0C6}" presName="childText" presStyleLbl="bgAcc1" presStyleIdx="4" presStyleCnt="27">
        <dgm:presLayoutVars>
          <dgm:bulletEnabled val="1"/>
        </dgm:presLayoutVars>
      </dgm:prSet>
      <dgm:spPr/>
    </dgm:pt>
    <dgm:pt modelId="{6A58B61E-B9B8-664C-AF64-AB9D200576BF}" type="pres">
      <dgm:prSet presAssocID="{9F0F78F8-60F2-FB40-ACE6-A8E46E10A1BB}" presName="Name13" presStyleLbl="parChTrans1D2" presStyleIdx="5" presStyleCnt="27"/>
      <dgm:spPr/>
    </dgm:pt>
    <dgm:pt modelId="{F8F89AFA-7427-B447-B5EA-897B3007A5D0}" type="pres">
      <dgm:prSet presAssocID="{2704C766-EA22-D046-80C0-C5A0AF66F85D}" presName="childText" presStyleLbl="bgAcc1" presStyleIdx="5" presStyleCnt="27">
        <dgm:presLayoutVars>
          <dgm:bulletEnabled val="1"/>
        </dgm:presLayoutVars>
      </dgm:prSet>
      <dgm:spPr/>
    </dgm:pt>
    <dgm:pt modelId="{D5782773-546F-4B43-B653-C19630E96BA7}" type="pres">
      <dgm:prSet presAssocID="{8F051BCC-AB3B-394F-ADE0-550A8288E9D1}" presName="root" presStyleCnt="0"/>
      <dgm:spPr/>
    </dgm:pt>
    <dgm:pt modelId="{640E051F-BBD0-6741-9C3C-B97A7DCE4BF5}" type="pres">
      <dgm:prSet presAssocID="{8F051BCC-AB3B-394F-ADE0-550A8288E9D1}" presName="rootComposite" presStyleCnt="0"/>
      <dgm:spPr/>
    </dgm:pt>
    <dgm:pt modelId="{07B8B408-BBEA-5347-BC4A-13FA8D964551}" type="pres">
      <dgm:prSet presAssocID="{8F051BCC-AB3B-394F-ADE0-550A8288E9D1}" presName="rootText" presStyleLbl="node1" presStyleIdx="2" presStyleCnt="8"/>
      <dgm:spPr/>
    </dgm:pt>
    <dgm:pt modelId="{3EA10360-C008-6E4F-801E-D8671B796508}" type="pres">
      <dgm:prSet presAssocID="{8F051BCC-AB3B-394F-ADE0-550A8288E9D1}" presName="rootConnector" presStyleLbl="node1" presStyleIdx="2" presStyleCnt="8"/>
      <dgm:spPr/>
    </dgm:pt>
    <dgm:pt modelId="{4958449E-9195-834A-9D01-00FEC0F80FDB}" type="pres">
      <dgm:prSet presAssocID="{8F051BCC-AB3B-394F-ADE0-550A8288E9D1}" presName="childShape" presStyleCnt="0"/>
      <dgm:spPr/>
    </dgm:pt>
    <dgm:pt modelId="{9F877505-089D-AE47-A1F1-6C24D9394F4F}" type="pres">
      <dgm:prSet presAssocID="{224B842B-4E55-914D-977A-0FFA6511356C}" presName="Name13" presStyleLbl="parChTrans1D2" presStyleIdx="6" presStyleCnt="27"/>
      <dgm:spPr/>
    </dgm:pt>
    <dgm:pt modelId="{6FE81644-B710-2848-8BE0-2E9C1E143939}" type="pres">
      <dgm:prSet presAssocID="{598FE064-F072-2E43-BEAE-80E649AEA9AE}" presName="childText" presStyleLbl="bgAcc1" presStyleIdx="6" presStyleCnt="27">
        <dgm:presLayoutVars>
          <dgm:bulletEnabled val="1"/>
        </dgm:presLayoutVars>
      </dgm:prSet>
      <dgm:spPr/>
    </dgm:pt>
    <dgm:pt modelId="{40E2CB40-9B00-E748-B505-5DD3E635E558}" type="pres">
      <dgm:prSet presAssocID="{7E0FC8F8-EB3C-C748-BAEB-624230241256}" presName="Name13" presStyleLbl="parChTrans1D2" presStyleIdx="7" presStyleCnt="27"/>
      <dgm:spPr/>
    </dgm:pt>
    <dgm:pt modelId="{3632657C-BFC7-224C-84FA-CA5FAF7AD56D}" type="pres">
      <dgm:prSet presAssocID="{E6E223AD-5E94-2440-8F3B-B6DE336C4CEC}" presName="childText" presStyleLbl="bgAcc1" presStyleIdx="7" presStyleCnt="27">
        <dgm:presLayoutVars>
          <dgm:bulletEnabled val="1"/>
        </dgm:presLayoutVars>
      </dgm:prSet>
      <dgm:spPr/>
    </dgm:pt>
    <dgm:pt modelId="{98B7D865-64B7-E34C-AC7A-85423EB28E74}" type="pres">
      <dgm:prSet presAssocID="{AC1C2011-E47F-F24C-8B7C-4E3BC1DFAB2D}" presName="root" presStyleCnt="0"/>
      <dgm:spPr/>
    </dgm:pt>
    <dgm:pt modelId="{6F698E34-A0C1-DB47-BA5F-E9ED61FC76FC}" type="pres">
      <dgm:prSet presAssocID="{AC1C2011-E47F-F24C-8B7C-4E3BC1DFAB2D}" presName="rootComposite" presStyleCnt="0"/>
      <dgm:spPr/>
    </dgm:pt>
    <dgm:pt modelId="{20E4A332-023C-354A-A82F-E68BD57D1F45}" type="pres">
      <dgm:prSet presAssocID="{AC1C2011-E47F-F24C-8B7C-4E3BC1DFAB2D}" presName="rootText" presStyleLbl="node1" presStyleIdx="3" presStyleCnt="8"/>
      <dgm:spPr/>
    </dgm:pt>
    <dgm:pt modelId="{8D2DA61F-636E-4C4F-917A-A69C97043AB4}" type="pres">
      <dgm:prSet presAssocID="{AC1C2011-E47F-F24C-8B7C-4E3BC1DFAB2D}" presName="rootConnector" presStyleLbl="node1" presStyleIdx="3" presStyleCnt="8"/>
      <dgm:spPr/>
    </dgm:pt>
    <dgm:pt modelId="{3D423C43-8A36-9449-8EE3-38CC78B49084}" type="pres">
      <dgm:prSet presAssocID="{AC1C2011-E47F-F24C-8B7C-4E3BC1DFAB2D}" presName="childShape" presStyleCnt="0"/>
      <dgm:spPr/>
    </dgm:pt>
    <dgm:pt modelId="{96C0B8AD-0DBD-D346-8EE3-09BFB11167B9}" type="pres">
      <dgm:prSet presAssocID="{BE09F905-F57D-3A41-B986-6174F9DE9EF6}" presName="Name13" presStyleLbl="parChTrans1D2" presStyleIdx="8" presStyleCnt="27"/>
      <dgm:spPr/>
    </dgm:pt>
    <dgm:pt modelId="{DA57115A-100A-0B4A-9BAC-ABEC59ABB382}" type="pres">
      <dgm:prSet presAssocID="{B0893E9D-79A1-714C-9815-3E92244E91ED}" presName="childText" presStyleLbl="bgAcc1" presStyleIdx="8" presStyleCnt="27">
        <dgm:presLayoutVars>
          <dgm:bulletEnabled val="1"/>
        </dgm:presLayoutVars>
      </dgm:prSet>
      <dgm:spPr/>
    </dgm:pt>
    <dgm:pt modelId="{DD922611-B3FD-504D-B7FB-01A6B7FC4849}" type="pres">
      <dgm:prSet presAssocID="{35DE522F-B866-F941-BC4D-91F450E2F441}" presName="Name13" presStyleLbl="parChTrans1D2" presStyleIdx="9" presStyleCnt="27"/>
      <dgm:spPr/>
    </dgm:pt>
    <dgm:pt modelId="{3394CABE-AB99-1C4A-B9C0-729743D086F2}" type="pres">
      <dgm:prSet presAssocID="{B38F1EE6-D813-644B-B80E-DC72FD03A0A2}" presName="childText" presStyleLbl="bgAcc1" presStyleIdx="9" presStyleCnt="27">
        <dgm:presLayoutVars>
          <dgm:bulletEnabled val="1"/>
        </dgm:presLayoutVars>
      </dgm:prSet>
      <dgm:spPr/>
    </dgm:pt>
    <dgm:pt modelId="{4EDD79EB-12A8-3845-8B34-819F37DDE97D}" type="pres">
      <dgm:prSet presAssocID="{0E8CD457-DF9A-854A-B772-A66C169B0588}" presName="root" presStyleCnt="0"/>
      <dgm:spPr/>
    </dgm:pt>
    <dgm:pt modelId="{5FD2D44A-9250-6242-A721-DECC9E950A9E}" type="pres">
      <dgm:prSet presAssocID="{0E8CD457-DF9A-854A-B772-A66C169B0588}" presName="rootComposite" presStyleCnt="0"/>
      <dgm:spPr/>
    </dgm:pt>
    <dgm:pt modelId="{8A3AFC21-FCDC-294F-83C4-28C57F26AA02}" type="pres">
      <dgm:prSet presAssocID="{0E8CD457-DF9A-854A-B772-A66C169B0588}" presName="rootText" presStyleLbl="node1" presStyleIdx="4" presStyleCnt="8"/>
      <dgm:spPr/>
    </dgm:pt>
    <dgm:pt modelId="{5627C395-5AEB-6049-AFCA-210CC7A007BA}" type="pres">
      <dgm:prSet presAssocID="{0E8CD457-DF9A-854A-B772-A66C169B0588}" presName="rootConnector" presStyleLbl="node1" presStyleIdx="4" presStyleCnt="8"/>
      <dgm:spPr/>
    </dgm:pt>
    <dgm:pt modelId="{B64C6DDD-FB4D-B245-AE67-CC0175529B3C}" type="pres">
      <dgm:prSet presAssocID="{0E8CD457-DF9A-854A-B772-A66C169B0588}" presName="childShape" presStyleCnt="0"/>
      <dgm:spPr/>
    </dgm:pt>
    <dgm:pt modelId="{E976EDA8-6C28-DE4A-87DF-710404B66FFB}" type="pres">
      <dgm:prSet presAssocID="{883F9595-6196-5F40-B439-137031A0CA92}" presName="Name13" presStyleLbl="parChTrans1D2" presStyleIdx="10" presStyleCnt="27"/>
      <dgm:spPr/>
    </dgm:pt>
    <dgm:pt modelId="{23B72943-9D2C-B447-9862-078C01E5CD48}" type="pres">
      <dgm:prSet presAssocID="{D01FFA2E-324C-4F44-8F5B-1D93BA14C37D}" presName="childText" presStyleLbl="bgAcc1" presStyleIdx="10" presStyleCnt="27">
        <dgm:presLayoutVars>
          <dgm:bulletEnabled val="1"/>
        </dgm:presLayoutVars>
      </dgm:prSet>
      <dgm:spPr/>
    </dgm:pt>
    <dgm:pt modelId="{9DD1C069-7EFF-BE4E-9BEF-C0171B20E754}" type="pres">
      <dgm:prSet presAssocID="{AE8F0254-C357-F34A-B5AE-12FF6C1B5C26}" presName="Name13" presStyleLbl="parChTrans1D2" presStyleIdx="11" presStyleCnt="27"/>
      <dgm:spPr/>
    </dgm:pt>
    <dgm:pt modelId="{14B23716-2CC8-5148-A061-F33F23804BE5}" type="pres">
      <dgm:prSet presAssocID="{16038EE6-6BF3-4B48-9980-ACC7A6420663}" presName="childText" presStyleLbl="bgAcc1" presStyleIdx="11" presStyleCnt="27">
        <dgm:presLayoutVars>
          <dgm:bulletEnabled val="1"/>
        </dgm:presLayoutVars>
      </dgm:prSet>
      <dgm:spPr/>
    </dgm:pt>
    <dgm:pt modelId="{B558153D-11A8-6142-B758-300ACA5246DD}" type="pres">
      <dgm:prSet presAssocID="{B41E6929-1A8C-EF44-A394-950681650A9E}" presName="Name13" presStyleLbl="parChTrans1D2" presStyleIdx="12" presStyleCnt="27"/>
      <dgm:spPr/>
    </dgm:pt>
    <dgm:pt modelId="{5F283CA6-EFED-9B45-B629-D2FA0BF4ADCB}" type="pres">
      <dgm:prSet presAssocID="{8DC7C76D-6C75-D742-A16F-9E797B71B627}" presName="childText" presStyleLbl="bgAcc1" presStyleIdx="12" presStyleCnt="27">
        <dgm:presLayoutVars>
          <dgm:bulletEnabled val="1"/>
        </dgm:presLayoutVars>
      </dgm:prSet>
      <dgm:spPr/>
    </dgm:pt>
    <dgm:pt modelId="{12865B71-5B1C-3140-BFB5-38937DC9BCE6}" type="pres">
      <dgm:prSet presAssocID="{9C1B7D37-0A7C-4146-A31B-21D8316E2833}" presName="Name13" presStyleLbl="parChTrans1D2" presStyleIdx="13" presStyleCnt="27"/>
      <dgm:spPr/>
    </dgm:pt>
    <dgm:pt modelId="{ABA92FFD-011E-CD40-84AF-075B95B64B93}" type="pres">
      <dgm:prSet presAssocID="{3C53D9CB-B49A-1041-B36E-C876B26C0664}" presName="childText" presStyleLbl="bgAcc1" presStyleIdx="13" presStyleCnt="27">
        <dgm:presLayoutVars>
          <dgm:bulletEnabled val="1"/>
        </dgm:presLayoutVars>
      </dgm:prSet>
      <dgm:spPr/>
    </dgm:pt>
    <dgm:pt modelId="{BA4AF88A-9F88-3B47-A7E0-FF47907435A1}" type="pres">
      <dgm:prSet presAssocID="{00D42E72-3F24-5446-A532-B962CD556993}" presName="root" presStyleCnt="0"/>
      <dgm:spPr/>
    </dgm:pt>
    <dgm:pt modelId="{73E51ADC-1E5D-264D-9298-5FB5C1963DAD}" type="pres">
      <dgm:prSet presAssocID="{00D42E72-3F24-5446-A532-B962CD556993}" presName="rootComposite" presStyleCnt="0"/>
      <dgm:spPr/>
    </dgm:pt>
    <dgm:pt modelId="{7C4B08AE-504D-5445-8927-ABADC132B1EA}" type="pres">
      <dgm:prSet presAssocID="{00D42E72-3F24-5446-A532-B962CD556993}" presName="rootText" presStyleLbl="node1" presStyleIdx="5" presStyleCnt="8"/>
      <dgm:spPr/>
    </dgm:pt>
    <dgm:pt modelId="{7E8E6DBD-621F-D641-8A93-A92DC836FF95}" type="pres">
      <dgm:prSet presAssocID="{00D42E72-3F24-5446-A532-B962CD556993}" presName="rootConnector" presStyleLbl="node1" presStyleIdx="5" presStyleCnt="8"/>
      <dgm:spPr/>
    </dgm:pt>
    <dgm:pt modelId="{51D245AE-8965-5241-B830-73449F62C854}" type="pres">
      <dgm:prSet presAssocID="{00D42E72-3F24-5446-A532-B962CD556993}" presName="childShape" presStyleCnt="0"/>
      <dgm:spPr/>
    </dgm:pt>
    <dgm:pt modelId="{6C7CCA5F-C27C-C242-A47B-5B9938F66569}" type="pres">
      <dgm:prSet presAssocID="{457D7804-6648-244C-B977-5FFA990152B3}" presName="Name13" presStyleLbl="parChTrans1D2" presStyleIdx="14" presStyleCnt="27"/>
      <dgm:spPr/>
    </dgm:pt>
    <dgm:pt modelId="{9B3581C4-2FD4-694B-98B7-571A5B50C826}" type="pres">
      <dgm:prSet presAssocID="{A6D7EFB5-A92E-044B-B43F-51922C0DC9A0}" presName="childText" presStyleLbl="bgAcc1" presStyleIdx="14" presStyleCnt="27">
        <dgm:presLayoutVars>
          <dgm:bulletEnabled val="1"/>
        </dgm:presLayoutVars>
      </dgm:prSet>
      <dgm:spPr/>
    </dgm:pt>
    <dgm:pt modelId="{4236FFC8-1C6E-D94D-BE64-0D9C3F213F9C}" type="pres">
      <dgm:prSet presAssocID="{7F9F97BE-5130-EC47-A26F-5CE7B8699020}" presName="Name13" presStyleLbl="parChTrans1D2" presStyleIdx="15" presStyleCnt="27"/>
      <dgm:spPr/>
    </dgm:pt>
    <dgm:pt modelId="{997B334E-E3E7-484A-94FD-9FE98B06E5D3}" type="pres">
      <dgm:prSet presAssocID="{69292C06-EF1C-1D4C-A419-4BBF1A78C12B}" presName="childText" presStyleLbl="bgAcc1" presStyleIdx="15" presStyleCnt="27">
        <dgm:presLayoutVars>
          <dgm:bulletEnabled val="1"/>
        </dgm:presLayoutVars>
      </dgm:prSet>
      <dgm:spPr/>
    </dgm:pt>
    <dgm:pt modelId="{1F173F23-D7E9-2140-98A9-81B7F6662385}" type="pres">
      <dgm:prSet presAssocID="{2BB9B9E4-5FE5-D147-BAFC-E8ED24A73C6D}" presName="Name13" presStyleLbl="parChTrans1D2" presStyleIdx="16" presStyleCnt="27"/>
      <dgm:spPr/>
    </dgm:pt>
    <dgm:pt modelId="{EE3028E2-F2A6-A548-A078-22AA4CF2097D}" type="pres">
      <dgm:prSet presAssocID="{054BC13C-9C64-9E41-9173-145D9B78BD94}" presName="childText" presStyleLbl="bgAcc1" presStyleIdx="16" presStyleCnt="27">
        <dgm:presLayoutVars>
          <dgm:bulletEnabled val="1"/>
        </dgm:presLayoutVars>
      </dgm:prSet>
      <dgm:spPr/>
    </dgm:pt>
    <dgm:pt modelId="{35EA8B6E-7CBA-3C46-ACBA-B28BF59A2486}" type="pres">
      <dgm:prSet presAssocID="{5A68C619-65D3-114E-9776-3746F139E5CA}" presName="Name13" presStyleLbl="parChTrans1D2" presStyleIdx="17" presStyleCnt="27"/>
      <dgm:spPr/>
    </dgm:pt>
    <dgm:pt modelId="{092E03E6-0390-364F-B243-BCD0C52801E2}" type="pres">
      <dgm:prSet presAssocID="{E18C2833-A402-AE40-AFC4-1A0012C0626B}" presName="childText" presStyleLbl="bgAcc1" presStyleIdx="17" presStyleCnt="27">
        <dgm:presLayoutVars>
          <dgm:bulletEnabled val="1"/>
        </dgm:presLayoutVars>
      </dgm:prSet>
      <dgm:spPr/>
    </dgm:pt>
    <dgm:pt modelId="{5E914F32-FE04-9D4B-B1A1-C47F3DB5E6F2}" type="pres">
      <dgm:prSet presAssocID="{A5B5B806-C405-5C4C-8827-00133AAE07B2}" presName="Name13" presStyleLbl="parChTrans1D2" presStyleIdx="18" presStyleCnt="27"/>
      <dgm:spPr/>
    </dgm:pt>
    <dgm:pt modelId="{CC575E2B-BF36-C244-BFA9-0A26DD34CB23}" type="pres">
      <dgm:prSet presAssocID="{3249E403-7B42-E041-AB57-0829AE25A092}" presName="childText" presStyleLbl="bgAcc1" presStyleIdx="18" presStyleCnt="27">
        <dgm:presLayoutVars>
          <dgm:bulletEnabled val="1"/>
        </dgm:presLayoutVars>
      </dgm:prSet>
      <dgm:spPr/>
    </dgm:pt>
    <dgm:pt modelId="{14B39D54-97F4-A642-8172-D4845DF6B17C}" type="pres">
      <dgm:prSet presAssocID="{7A93B62C-5C6F-AC4F-8A7C-ED6B585841C1}" presName="root" presStyleCnt="0"/>
      <dgm:spPr/>
    </dgm:pt>
    <dgm:pt modelId="{3ED6C7EF-24BB-7342-8D42-B1DAABDCCBDF}" type="pres">
      <dgm:prSet presAssocID="{7A93B62C-5C6F-AC4F-8A7C-ED6B585841C1}" presName="rootComposite" presStyleCnt="0"/>
      <dgm:spPr/>
    </dgm:pt>
    <dgm:pt modelId="{51CA69B9-995A-3146-AEC4-A30299EAFD91}" type="pres">
      <dgm:prSet presAssocID="{7A93B62C-5C6F-AC4F-8A7C-ED6B585841C1}" presName="rootText" presStyleLbl="node1" presStyleIdx="6" presStyleCnt="8"/>
      <dgm:spPr/>
    </dgm:pt>
    <dgm:pt modelId="{A3EBC1A4-3CA1-964A-8FB8-1070D94A0A1C}" type="pres">
      <dgm:prSet presAssocID="{7A93B62C-5C6F-AC4F-8A7C-ED6B585841C1}" presName="rootConnector" presStyleLbl="node1" presStyleIdx="6" presStyleCnt="8"/>
      <dgm:spPr/>
    </dgm:pt>
    <dgm:pt modelId="{A8A13AA4-94BD-1E4B-9957-85A2CC29447C}" type="pres">
      <dgm:prSet presAssocID="{7A93B62C-5C6F-AC4F-8A7C-ED6B585841C1}" presName="childShape" presStyleCnt="0"/>
      <dgm:spPr/>
    </dgm:pt>
    <dgm:pt modelId="{437448C7-8D9E-894B-8A39-BF62597BFD1F}" type="pres">
      <dgm:prSet presAssocID="{6FA5CCA6-E064-CA4E-A237-3841FE7B18E9}" presName="Name13" presStyleLbl="parChTrans1D2" presStyleIdx="19" presStyleCnt="27"/>
      <dgm:spPr/>
    </dgm:pt>
    <dgm:pt modelId="{80FE65BA-CA7D-9B4B-8240-226E315E8C05}" type="pres">
      <dgm:prSet presAssocID="{95F28B24-1712-6849-B4D1-E5648E216B92}" presName="childText" presStyleLbl="bgAcc1" presStyleIdx="19" presStyleCnt="27">
        <dgm:presLayoutVars>
          <dgm:bulletEnabled val="1"/>
        </dgm:presLayoutVars>
      </dgm:prSet>
      <dgm:spPr/>
    </dgm:pt>
    <dgm:pt modelId="{09E76712-CFC8-9047-BE35-9AED4279CA14}" type="pres">
      <dgm:prSet presAssocID="{EC44253B-0648-334C-A54A-72CE77C60696}" presName="Name13" presStyleLbl="parChTrans1D2" presStyleIdx="20" presStyleCnt="27"/>
      <dgm:spPr/>
    </dgm:pt>
    <dgm:pt modelId="{59C8AD72-1FF0-6D4F-ABDA-EF6C6C91D979}" type="pres">
      <dgm:prSet presAssocID="{4EE57A1C-0DB5-1F49-B834-B315C0F65072}" presName="childText" presStyleLbl="bgAcc1" presStyleIdx="20" presStyleCnt="27">
        <dgm:presLayoutVars>
          <dgm:bulletEnabled val="1"/>
        </dgm:presLayoutVars>
      </dgm:prSet>
      <dgm:spPr/>
    </dgm:pt>
    <dgm:pt modelId="{4D9FE055-ADA2-6C4F-B60B-7CBC43A089E6}" type="pres">
      <dgm:prSet presAssocID="{5354B16A-E11E-1D48-AAFB-7D240D6642F5}" presName="Name13" presStyleLbl="parChTrans1D2" presStyleIdx="21" presStyleCnt="27"/>
      <dgm:spPr/>
    </dgm:pt>
    <dgm:pt modelId="{E5C17912-BBD8-EA48-B033-E10027B13EC4}" type="pres">
      <dgm:prSet presAssocID="{95CB294F-A2D2-EE47-AB33-C7A9CB36A488}" presName="childText" presStyleLbl="bgAcc1" presStyleIdx="21" presStyleCnt="27">
        <dgm:presLayoutVars>
          <dgm:bulletEnabled val="1"/>
        </dgm:presLayoutVars>
      </dgm:prSet>
      <dgm:spPr/>
    </dgm:pt>
    <dgm:pt modelId="{5DF2E0AC-F16A-7B43-A3E3-38B736183D8E}" type="pres">
      <dgm:prSet presAssocID="{C464E591-CEA1-414D-AB66-7269B863E3A7}" presName="Name13" presStyleLbl="parChTrans1D2" presStyleIdx="22" presStyleCnt="27"/>
      <dgm:spPr/>
    </dgm:pt>
    <dgm:pt modelId="{FCF6F526-FB38-FE4D-A494-4DFFD18DA82E}" type="pres">
      <dgm:prSet presAssocID="{A8A21FA9-2703-0548-B6F7-AD6E73BDA1AE}" presName="childText" presStyleLbl="bgAcc1" presStyleIdx="22" presStyleCnt="27">
        <dgm:presLayoutVars>
          <dgm:bulletEnabled val="1"/>
        </dgm:presLayoutVars>
      </dgm:prSet>
      <dgm:spPr/>
    </dgm:pt>
    <dgm:pt modelId="{FC0FD8D0-996E-6443-9AFF-FC093786F2BB}" type="pres">
      <dgm:prSet presAssocID="{971C1B5D-67F7-F748-8432-22B7AA5C243E}" presName="Name13" presStyleLbl="parChTrans1D2" presStyleIdx="23" presStyleCnt="27"/>
      <dgm:spPr/>
    </dgm:pt>
    <dgm:pt modelId="{9B9AE7A8-612B-0545-961B-2FB089BD92F9}" type="pres">
      <dgm:prSet presAssocID="{E9A3D690-F538-1640-BA5A-DA7EF97EEB32}" presName="childText" presStyleLbl="bgAcc1" presStyleIdx="23" presStyleCnt="27">
        <dgm:presLayoutVars>
          <dgm:bulletEnabled val="1"/>
        </dgm:presLayoutVars>
      </dgm:prSet>
      <dgm:spPr/>
    </dgm:pt>
    <dgm:pt modelId="{AF6E4287-AEB5-7143-99D0-53C62C5C1F09}" type="pres">
      <dgm:prSet presAssocID="{05F23BCB-22AA-E245-BA73-9BF467A5A01F}" presName="root" presStyleCnt="0"/>
      <dgm:spPr/>
    </dgm:pt>
    <dgm:pt modelId="{78CFACDA-E4B9-F547-AD11-FB2DED584293}" type="pres">
      <dgm:prSet presAssocID="{05F23BCB-22AA-E245-BA73-9BF467A5A01F}" presName="rootComposite" presStyleCnt="0"/>
      <dgm:spPr/>
    </dgm:pt>
    <dgm:pt modelId="{04A97591-A644-7A4E-A21C-0F455A246C0B}" type="pres">
      <dgm:prSet presAssocID="{05F23BCB-22AA-E245-BA73-9BF467A5A01F}" presName="rootText" presStyleLbl="node1" presStyleIdx="7" presStyleCnt="8"/>
      <dgm:spPr/>
    </dgm:pt>
    <dgm:pt modelId="{986E21F7-1EC6-6044-A4BD-94ABA22EBA0E}" type="pres">
      <dgm:prSet presAssocID="{05F23BCB-22AA-E245-BA73-9BF467A5A01F}" presName="rootConnector" presStyleLbl="node1" presStyleIdx="7" presStyleCnt="8"/>
      <dgm:spPr/>
    </dgm:pt>
    <dgm:pt modelId="{8E02AF95-9737-1F40-9B03-D871C623D3B3}" type="pres">
      <dgm:prSet presAssocID="{05F23BCB-22AA-E245-BA73-9BF467A5A01F}" presName="childShape" presStyleCnt="0"/>
      <dgm:spPr/>
    </dgm:pt>
    <dgm:pt modelId="{B575AD4C-A0B9-C546-951C-87B42CC951D5}" type="pres">
      <dgm:prSet presAssocID="{0AE37708-A5CF-DA4C-A40A-ADA98508CC23}" presName="Name13" presStyleLbl="parChTrans1D2" presStyleIdx="24" presStyleCnt="27"/>
      <dgm:spPr/>
    </dgm:pt>
    <dgm:pt modelId="{D314026A-2F78-F84E-8045-6675029EDD49}" type="pres">
      <dgm:prSet presAssocID="{8AE60BF9-091B-184E-9005-EF4555AA90DF}" presName="childText" presStyleLbl="bgAcc1" presStyleIdx="24" presStyleCnt="27">
        <dgm:presLayoutVars>
          <dgm:bulletEnabled val="1"/>
        </dgm:presLayoutVars>
      </dgm:prSet>
      <dgm:spPr/>
    </dgm:pt>
    <dgm:pt modelId="{16E58DE1-A091-5548-8240-35067CD2D11F}" type="pres">
      <dgm:prSet presAssocID="{A746390B-A82F-C64B-8145-6D27C88B0E24}" presName="Name13" presStyleLbl="parChTrans1D2" presStyleIdx="25" presStyleCnt="27"/>
      <dgm:spPr/>
    </dgm:pt>
    <dgm:pt modelId="{EFCCE37F-D0FD-4444-9D80-DBC41CEF80D2}" type="pres">
      <dgm:prSet presAssocID="{A5365144-998A-224B-BF5C-39352B61A674}" presName="childText" presStyleLbl="bgAcc1" presStyleIdx="25" presStyleCnt="27">
        <dgm:presLayoutVars>
          <dgm:bulletEnabled val="1"/>
        </dgm:presLayoutVars>
      </dgm:prSet>
      <dgm:spPr/>
    </dgm:pt>
    <dgm:pt modelId="{7DDFF29B-2975-EF45-B31C-ECD72FD9ABF0}" type="pres">
      <dgm:prSet presAssocID="{4B304EE6-B53F-644F-9D12-5306178C6031}" presName="Name13" presStyleLbl="parChTrans1D2" presStyleIdx="26" presStyleCnt="27"/>
      <dgm:spPr/>
    </dgm:pt>
    <dgm:pt modelId="{3A801272-935B-9A41-A9D1-B14936F53555}" type="pres">
      <dgm:prSet presAssocID="{F9D126EF-BE2E-7746-9348-9E369FE47AFA}" presName="childText" presStyleLbl="bgAcc1" presStyleIdx="26" presStyleCnt="27">
        <dgm:presLayoutVars>
          <dgm:bulletEnabled val="1"/>
        </dgm:presLayoutVars>
      </dgm:prSet>
      <dgm:spPr/>
    </dgm:pt>
  </dgm:ptLst>
  <dgm:cxnLst>
    <dgm:cxn modelId="{37DBE100-2990-4B25-A4CD-7F1DCB3F5F1A}" type="presOf" srcId="{41DCB497-4F67-7240-B1C3-DED53DF245ED}" destId="{79B777F2-00FE-FA4D-9CF1-63BDC88ED8C0}" srcOrd="1" destOrd="0" presId="urn:microsoft.com/office/officeart/2005/8/layout/hierarchy3"/>
    <dgm:cxn modelId="{58FB9503-7E52-BC44-A1F9-12574B538CBE}" srcId="{F1F5D922-A647-5945-89E1-2B1158E87E7C}" destId="{7A93B62C-5C6F-AC4F-8A7C-ED6B585841C1}" srcOrd="6" destOrd="0" parTransId="{209C471E-D42A-FA46-93C8-24BE0E89AD9A}" sibTransId="{2C9C703C-A18F-5A4C-819B-12AE8BD3C33E}"/>
    <dgm:cxn modelId="{B7426106-E87F-4C9F-B69E-ECFA64C3ECE4}" type="presOf" srcId="{41DCB497-4F67-7240-B1C3-DED53DF245ED}" destId="{845ED3E6-51AD-1641-949A-0F65BC3E9D79}" srcOrd="0" destOrd="0" presId="urn:microsoft.com/office/officeart/2005/8/layout/hierarchy3"/>
    <dgm:cxn modelId="{26AC5707-F2E0-45A0-930B-D886C87AE9ED}" type="presOf" srcId="{AC1C2011-E47F-F24C-8B7C-4E3BC1DFAB2D}" destId="{8D2DA61F-636E-4C4F-917A-A69C97043AB4}" srcOrd="1" destOrd="0" presId="urn:microsoft.com/office/officeart/2005/8/layout/hierarchy3"/>
    <dgm:cxn modelId="{F166A007-9572-FC4E-A4C0-A1502C01C84F}" srcId="{F1F5D922-A647-5945-89E1-2B1158E87E7C}" destId="{AC1C2011-E47F-F24C-8B7C-4E3BC1DFAB2D}" srcOrd="3" destOrd="0" parTransId="{875C913E-520C-F54F-B29E-C519013B05EF}" sibTransId="{822AF7AC-50EA-A147-96D3-4CCEFC7F8215}"/>
    <dgm:cxn modelId="{7C04D20C-F80C-425D-A1FF-AE622F634893}" type="presOf" srcId="{E6E223AD-5E94-2440-8F3B-B6DE336C4CEC}" destId="{3632657C-BFC7-224C-84FA-CA5FAF7AD56D}" srcOrd="0" destOrd="0" presId="urn:microsoft.com/office/officeart/2005/8/layout/hierarchy3"/>
    <dgm:cxn modelId="{0754A30D-F77D-4D77-97BC-B3E4F1BAB812}" type="presOf" srcId="{E18C2833-A402-AE40-AFC4-1A0012C0626B}" destId="{092E03E6-0390-364F-B243-BCD0C52801E2}" srcOrd="0" destOrd="0" presId="urn:microsoft.com/office/officeart/2005/8/layout/hierarchy3"/>
    <dgm:cxn modelId="{382E3C13-D9BD-4109-ACE5-DC6FF5BE71C4}" type="presOf" srcId="{444FF2BE-46A6-0C4D-9D6A-8EF2ABCAD744}" destId="{73301F81-1F1D-3F46-B392-A59C2C4C807C}" srcOrd="0" destOrd="0" presId="urn:microsoft.com/office/officeart/2005/8/layout/hierarchy3"/>
    <dgm:cxn modelId="{89AA0514-B813-FC49-9C07-87B67F6A64C2}" srcId="{8F051BCC-AB3B-394F-ADE0-550A8288E9D1}" destId="{E6E223AD-5E94-2440-8F3B-B6DE336C4CEC}" srcOrd="1" destOrd="0" parTransId="{7E0FC8F8-EB3C-C748-BAEB-624230241256}" sibTransId="{BCD642E1-79CF-A944-A179-9D259CAED5F2}"/>
    <dgm:cxn modelId="{FA0E1316-0AF6-485C-974D-082518476B1E}" type="presOf" srcId="{0E8CD457-DF9A-854A-B772-A66C169B0588}" destId="{5627C395-5AEB-6049-AFCA-210CC7A007BA}" srcOrd="1" destOrd="0" presId="urn:microsoft.com/office/officeart/2005/8/layout/hierarchy3"/>
    <dgm:cxn modelId="{0B4B7718-6892-47D3-BFEF-29D04A8FAF56}" type="presOf" srcId="{054BC13C-9C64-9E41-9173-145D9B78BD94}" destId="{EE3028E2-F2A6-A548-A078-22AA4CF2097D}" srcOrd="0" destOrd="0" presId="urn:microsoft.com/office/officeart/2005/8/layout/hierarchy3"/>
    <dgm:cxn modelId="{8287EA18-CC81-C647-AE7B-8853F485D1CB}" srcId="{41DCB497-4F67-7240-B1C3-DED53DF245ED}" destId="{444FF2BE-46A6-0C4D-9D6A-8EF2ABCAD744}" srcOrd="1" destOrd="0" parTransId="{136354CD-7547-0F40-90F8-3C436C8B34AB}" sibTransId="{08BBC0FC-E5EF-2F48-9E65-A9D096746A03}"/>
    <dgm:cxn modelId="{395FA31D-30DA-4F47-AD9C-EBA5210E673A}" type="presOf" srcId="{F1F5D922-A647-5945-89E1-2B1158E87E7C}" destId="{3DA2996A-B9CC-754B-A3CD-41FF8722C935}" srcOrd="0" destOrd="0" presId="urn:microsoft.com/office/officeart/2005/8/layout/hierarchy3"/>
    <dgm:cxn modelId="{F1127820-0574-C84E-A90D-0BDE230F30CE}" srcId="{0E8CD457-DF9A-854A-B772-A66C169B0588}" destId="{D01FFA2E-324C-4F44-8F5B-1D93BA14C37D}" srcOrd="0" destOrd="0" parTransId="{883F9595-6196-5F40-B439-137031A0CA92}" sibTransId="{B6B99295-B775-EA45-BDE7-A0F66DFE49C2}"/>
    <dgm:cxn modelId="{9BFFAB27-4E1C-4C40-AFC8-50CABFF63607}" type="presOf" srcId="{16038EE6-6BF3-4B48-9980-ACC7A6420663}" destId="{14B23716-2CC8-5148-A061-F33F23804BE5}" srcOrd="0" destOrd="0" presId="urn:microsoft.com/office/officeart/2005/8/layout/hierarchy3"/>
    <dgm:cxn modelId="{5C6BDC28-370F-4E41-BF61-75C200CD0C32}" type="presOf" srcId="{A8A21FA9-2703-0548-B6F7-AD6E73BDA1AE}" destId="{FCF6F526-FB38-FE4D-A494-4DFFD18DA82E}" srcOrd="0" destOrd="0" presId="urn:microsoft.com/office/officeart/2005/8/layout/hierarchy3"/>
    <dgm:cxn modelId="{C15F282A-EC05-48D2-884A-24CE1FE86174}" type="presOf" srcId="{3249E403-7B42-E041-AB57-0829AE25A092}" destId="{CC575E2B-BF36-C244-BFA9-0A26DD34CB23}" srcOrd="0" destOrd="0" presId="urn:microsoft.com/office/officeart/2005/8/layout/hierarchy3"/>
    <dgm:cxn modelId="{5E14102D-7084-FA4C-AAEB-7A45B235F0D7}" srcId="{00D42E72-3F24-5446-A532-B962CD556993}" destId="{E18C2833-A402-AE40-AFC4-1A0012C0626B}" srcOrd="3" destOrd="0" parTransId="{5A68C619-65D3-114E-9776-3746F139E5CA}" sibTransId="{42B1A76F-E8A5-F741-9656-0220FB356D62}"/>
    <dgm:cxn modelId="{9A9AB62D-7896-264C-9BC2-3B8F3619D125}" srcId="{05F23BCB-22AA-E245-BA73-9BF467A5A01F}" destId="{A5365144-998A-224B-BF5C-39352B61A674}" srcOrd="1" destOrd="0" parTransId="{A746390B-A82F-C64B-8145-6D27C88B0E24}" sibTransId="{7745351C-F63F-B543-AA34-F2D3A0BE0513}"/>
    <dgm:cxn modelId="{43692E34-E085-3749-8CF1-151B2F9F1C8E}" srcId="{7A93B62C-5C6F-AC4F-8A7C-ED6B585841C1}" destId="{E9A3D690-F538-1640-BA5A-DA7EF97EEB32}" srcOrd="4" destOrd="0" parTransId="{971C1B5D-67F7-F748-8432-22B7AA5C243E}" sibTransId="{79022E51-1F17-8546-9AC8-3171512E16F1}"/>
    <dgm:cxn modelId="{6B157E38-F63A-43D8-B8E1-BEBF47CD284D}" type="presOf" srcId="{883F9595-6196-5F40-B439-137031A0CA92}" destId="{E976EDA8-6C28-DE4A-87DF-710404B66FFB}" srcOrd="0" destOrd="0" presId="urn:microsoft.com/office/officeart/2005/8/layout/hierarchy3"/>
    <dgm:cxn modelId="{16CA8D39-BB61-4A8B-A5C4-B8F1F361A6C9}" type="presOf" srcId="{3E784F15-FAE9-BB49-95C5-CAC859C56617}" destId="{8AECC5BC-2112-6C47-BA97-C703B279B190}" srcOrd="0" destOrd="0" presId="urn:microsoft.com/office/officeart/2005/8/layout/hierarchy3"/>
    <dgm:cxn modelId="{6498933B-1F91-4C4C-B3B9-1CDF627E543D}" type="presOf" srcId="{971C1B5D-67F7-F748-8432-22B7AA5C243E}" destId="{FC0FD8D0-996E-6443-9AFF-FC093786F2BB}" srcOrd="0" destOrd="0" presId="urn:microsoft.com/office/officeart/2005/8/layout/hierarchy3"/>
    <dgm:cxn modelId="{3902835C-3766-4DD0-A4D4-AF4CCEB08C90}" type="presOf" srcId="{A6D7EFB5-A92E-044B-B43F-51922C0DC9A0}" destId="{9B3581C4-2FD4-694B-98B7-571A5B50C826}" srcOrd="0" destOrd="0" presId="urn:microsoft.com/office/officeart/2005/8/layout/hierarchy3"/>
    <dgm:cxn modelId="{AC49BD5C-6DE4-4E6B-AFAC-EA0E6DCCD263}" type="presOf" srcId="{C464E591-CEA1-414D-AB66-7269B863E3A7}" destId="{5DF2E0AC-F16A-7B43-A3E3-38B736183D8E}" srcOrd="0" destOrd="0" presId="urn:microsoft.com/office/officeart/2005/8/layout/hierarchy3"/>
    <dgm:cxn modelId="{C218BB5F-4615-4D07-910E-306C4D33C09F}" type="presOf" srcId="{F9D126EF-BE2E-7746-9348-9E369FE47AFA}" destId="{3A801272-935B-9A41-A9D1-B14936F53555}" srcOrd="0" destOrd="0" presId="urn:microsoft.com/office/officeart/2005/8/layout/hierarchy3"/>
    <dgm:cxn modelId="{996C5360-67B2-4F71-AB4C-4518059A89C4}" type="presOf" srcId="{FDAB69C9-3BA5-8240-A3EA-4A596500E358}" destId="{79124905-5F4B-C442-AA9D-A554D067E1CE}" srcOrd="0" destOrd="0" presId="urn:microsoft.com/office/officeart/2005/8/layout/hierarchy3"/>
    <dgm:cxn modelId="{87A15941-4DBE-4750-82ED-FDBED9BCD7FE}" type="presOf" srcId="{35DE522F-B866-F941-BC4D-91F450E2F441}" destId="{DD922611-B3FD-504D-B7FB-01A6B7FC4849}" srcOrd="0" destOrd="0" presId="urn:microsoft.com/office/officeart/2005/8/layout/hierarchy3"/>
    <dgm:cxn modelId="{970C8F44-585A-5948-930E-9E835ABDD018}" srcId="{AC1C2011-E47F-F24C-8B7C-4E3BC1DFAB2D}" destId="{B0893E9D-79A1-714C-9815-3E92244E91ED}" srcOrd="0" destOrd="0" parTransId="{BE09F905-F57D-3A41-B986-6174F9DE9EF6}" sibTransId="{9716B081-0A92-BB46-BEA7-6085DD96F792}"/>
    <dgm:cxn modelId="{57234E45-6456-491C-BA16-AF0A050BA303}" type="presOf" srcId="{2F9FF1B4-EA6C-7C4A-A81D-BD01257A79E7}" destId="{C1CC0758-1E89-014B-BCA6-B412B5096445}" srcOrd="1" destOrd="0" presId="urn:microsoft.com/office/officeart/2005/8/layout/hierarchy3"/>
    <dgm:cxn modelId="{4DF5A068-9A1C-4DF9-8E99-61F0CB886690}" type="presOf" srcId="{9F0F78F8-60F2-FB40-ACE6-A8E46E10A1BB}" destId="{6A58B61E-B9B8-664C-AF64-AB9D200576BF}" srcOrd="0" destOrd="0" presId="urn:microsoft.com/office/officeart/2005/8/layout/hierarchy3"/>
    <dgm:cxn modelId="{903DE168-2BF4-4988-81CB-E7F47002CEC8}" type="presOf" srcId="{A5365144-998A-224B-BF5C-39352B61A674}" destId="{EFCCE37F-D0FD-4444-9D80-DBC41CEF80D2}" srcOrd="0" destOrd="0" presId="urn:microsoft.com/office/officeart/2005/8/layout/hierarchy3"/>
    <dgm:cxn modelId="{60C39F69-4E69-4198-AE99-8A6497E85B06}" type="presOf" srcId="{E9A3D690-F538-1640-BA5A-DA7EF97EEB32}" destId="{9B9AE7A8-612B-0545-961B-2FB089BD92F9}" srcOrd="0" destOrd="0" presId="urn:microsoft.com/office/officeart/2005/8/layout/hierarchy3"/>
    <dgm:cxn modelId="{771C1A6A-AF9B-F14A-ABCF-24B1ABDA5FE1}" srcId="{00D42E72-3F24-5446-A532-B962CD556993}" destId="{69292C06-EF1C-1D4C-A419-4BBF1A78C12B}" srcOrd="1" destOrd="0" parTransId="{7F9F97BE-5130-EC47-A26F-5CE7B8699020}" sibTransId="{11D7078B-256A-0541-9889-01991EA840FB}"/>
    <dgm:cxn modelId="{76FABF4A-5FB8-42A0-BB50-E8CAA632D3AC}" type="presOf" srcId="{598FE064-F072-2E43-BEAE-80E649AEA9AE}" destId="{6FE81644-B710-2848-8BE0-2E9C1E143939}" srcOrd="0" destOrd="0" presId="urn:microsoft.com/office/officeart/2005/8/layout/hierarchy3"/>
    <dgm:cxn modelId="{F6BADC4A-32D3-4A9B-BC7E-DEFC5433E2A0}" type="presOf" srcId="{A746390B-A82F-C64B-8145-6D27C88B0E24}" destId="{16E58DE1-A091-5548-8240-35067CD2D11F}" srcOrd="0" destOrd="0" presId="urn:microsoft.com/office/officeart/2005/8/layout/hierarchy3"/>
    <dgm:cxn modelId="{3B6A8A4C-8F62-4D56-AFDB-820035D798D2}" type="presOf" srcId="{D01FFA2E-324C-4F44-8F5B-1D93BA14C37D}" destId="{23B72943-9D2C-B447-9862-078C01E5CD48}" srcOrd="0" destOrd="0" presId="urn:microsoft.com/office/officeart/2005/8/layout/hierarchy3"/>
    <dgm:cxn modelId="{F0ECF06C-4DAD-4F9D-8FDB-C5764B7310C8}" type="presOf" srcId="{2F9FF1B4-EA6C-7C4A-A81D-BD01257A79E7}" destId="{BA133919-C9B4-1F46-8D96-28E5A05EB3DE}" srcOrd="0" destOrd="0" presId="urn:microsoft.com/office/officeart/2005/8/layout/hierarchy3"/>
    <dgm:cxn modelId="{4544BC6D-CC7F-2D44-8851-9CD7A2C4CDC3}" srcId="{00D42E72-3F24-5446-A532-B962CD556993}" destId="{3249E403-7B42-E041-AB57-0829AE25A092}" srcOrd="4" destOrd="0" parTransId="{A5B5B806-C405-5C4C-8827-00133AAE07B2}" sibTransId="{98164AA1-8FDF-1F4F-B189-E9577350CB76}"/>
    <dgm:cxn modelId="{B827E06D-8180-4A04-B6DF-017F7003881D}" type="presOf" srcId="{3C53D9CB-B49A-1041-B36E-C876B26C0664}" destId="{ABA92FFD-011E-CD40-84AF-075B95B64B93}" srcOrd="0" destOrd="0" presId="urn:microsoft.com/office/officeart/2005/8/layout/hierarchy3"/>
    <dgm:cxn modelId="{1E6AFF6D-FD10-F540-B9E2-6756D4679939}" srcId="{00D42E72-3F24-5446-A532-B962CD556993}" destId="{A6D7EFB5-A92E-044B-B43F-51922C0DC9A0}" srcOrd="0" destOrd="0" parTransId="{457D7804-6648-244C-B977-5FFA990152B3}" sibTransId="{58A1200A-74DE-DC4C-BAC0-FA8EE5C767D2}"/>
    <dgm:cxn modelId="{5DE1116E-139B-472E-8212-12D20732C696}" type="presOf" srcId="{7F9F97BE-5130-EC47-A26F-5CE7B8699020}" destId="{4236FFC8-1C6E-D94D-BE64-0D9C3F213F9C}" srcOrd="0" destOrd="0" presId="urn:microsoft.com/office/officeart/2005/8/layout/hierarchy3"/>
    <dgm:cxn modelId="{D31C3E6E-8333-476A-AB88-C211982F00B7}" type="presOf" srcId="{E876EA2D-293D-BC4A-A196-3712A4F5CDB1}" destId="{F25706D1-68D7-8C43-A6D7-5B86169F3E21}" srcOrd="0" destOrd="0" presId="urn:microsoft.com/office/officeart/2005/8/layout/hierarchy3"/>
    <dgm:cxn modelId="{8771CD6E-AC54-4809-B4A3-9B184FAF581F}" type="presOf" srcId="{53C1FC7C-FB8B-ED43-B796-B56D223ECB81}" destId="{FE0B66B4-D0F6-534A-9FA4-5FFE3999714B}" srcOrd="0" destOrd="0" presId="urn:microsoft.com/office/officeart/2005/8/layout/hierarchy3"/>
    <dgm:cxn modelId="{A4132A6F-7A74-46A1-9C9A-F1B09B88188C}" type="presOf" srcId="{00D42E72-3F24-5446-A532-B962CD556993}" destId="{7E8E6DBD-621F-D641-8A93-A92DC836FF95}" srcOrd="1" destOrd="0" presId="urn:microsoft.com/office/officeart/2005/8/layout/hierarchy3"/>
    <dgm:cxn modelId="{D0C11A71-8E06-4020-86CA-14354979B479}" type="presOf" srcId="{69292C06-EF1C-1D4C-A419-4BBF1A78C12B}" destId="{997B334E-E3E7-484A-94FD-9FE98B06E5D3}" srcOrd="0" destOrd="0" presId="urn:microsoft.com/office/officeart/2005/8/layout/hierarchy3"/>
    <dgm:cxn modelId="{63689D55-9C67-4A71-BF8F-4A3F8CB00374}" type="presOf" srcId="{6FA5CCA6-E064-CA4E-A237-3841FE7B18E9}" destId="{437448C7-8D9E-894B-8A39-BF62597BFD1F}" srcOrd="0" destOrd="0" presId="urn:microsoft.com/office/officeart/2005/8/layout/hierarchy3"/>
    <dgm:cxn modelId="{AF3EAD55-F82A-4A67-9A60-4F442E3FDC9B}" type="presOf" srcId="{8DC7C76D-6C75-D742-A16F-9E797B71B627}" destId="{5F283CA6-EFED-9B45-B629-D2FA0BF4ADCB}" srcOrd="0" destOrd="0" presId="urn:microsoft.com/office/officeart/2005/8/layout/hierarchy3"/>
    <dgm:cxn modelId="{0ACC0358-AE1D-4FEC-B6F8-6995085E1BA0}" type="presOf" srcId="{7A93B62C-5C6F-AC4F-8A7C-ED6B585841C1}" destId="{51CA69B9-995A-3146-AEC4-A30299EAFD91}" srcOrd="0" destOrd="0" presId="urn:microsoft.com/office/officeart/2005/8/layout/hierarchy3"/>
    <dgm:cxn modelId="{35FD3179-ECB7-4ACE-AAF0-0202C1ABB37F}" type="presOf" srcId="{2BB9B9E4-5FE5-D147-BAFC-E8ED24A73C6D}" destId="{1F173F23-D7E9-2140-98A9-81B7F6662385}" srcOrd="0" destOrd="0" presId="urn:microsoft.com/office/officeart/2005/8/layout/hierarchy3"/>
    <dgm:cxn modelId="{7D24917B-F264-4E45-BDE3-71E6B04AAB54}" srcId="{2F9FF1B4-EA6C-7C4A-A81D-BD01257A79E7}" destId="{FDAB69C9-3BA5-8240-A3EA-4A596500E358}" srcOrd="0" destOrd="0" parTransId="{EE9B1C0E-FF5B-F64D-97DA-1EFCDC6AC4F0}" sibTransId="{32666D97-8610-9945-B7FA-DE82EDE8AF0D}"/>
    <dgm:cxn modelId="{5EB2897D-8A95-4118-8B80-534FC9AC26E2}" type="presOf" srcId="{5A68C619-65D3-114E-9776-3746F139E5CA}" destId="{35EA8B6E-7CBA-3C46-ACBA-B28BF59A2486}" srcOrd="0" destOrd="0" presId="urn:microsoft.com/office/officeart/2005/8/layout/hierarchy3"/>
    <dgm:cxn modelId="{44C6C181-0F97-42BA-99A4-48BAA4EFD1D2}" type="presOf" srcId="{EC44253B-0648-334C-A54A-72CE77C60696}" destId="{09E76712-CFC8-9047-BE35-9AED4279CA14}" srcOrd="0" destOrd="0" presId="urn:microsoft.com/office/officeart/2005/8/layout/hierarchy3"/>
    <dgm:cxn modelId="{B9056183-5307-491D-A862-024577644E65}" type="presOf" srcId="{05F23BCB-22AA-E245-BA73-9BF467A5A01F}" destId="{04A97591-A644-7A4E-A21C-0F455A246C0B}" srcOrd="0" destOrd="0" presId="urn:microsoft.com/office/officeart/2005/8/layout/hierarchy3"/>
    <dgm:cxn modelId="{654C0F84-17D6-40AE-B10B-0B8DCFE6D80D}" type="presOf" srcId="{457D7804-6648-244C-B977-5FFA990152B3}" destId="{6C7CCA5F-C27C-C242-A47B-5B9938F66569}" srcOrd="0" destOrd="0" presId="urn:microsoft.com/office/officeart/2005/8/layout/hierarchy3"/>
    <dgm:cxn modelId="{3E7EFA84-5E35-C846-8C47-63D027B2E805}" srcId="{7A93B62C-5C6F-AC4F-8A7C-ED6B585841C1}" destId="{4EE57A1C-0DB5-1F49-B834-B315C0F65072}" srcOrd="1" destOrd="0" parTransId="{EC44253B-0648-334C-A54A-72CE77C60696}" sibTransId="{629D1C23-38C7-5F40-A941-195B4EBC56DE}"/>
    <dgm:cxn modelId="{5E0BB287-0114-404F-8DE7-EA4FCF64D09E}" type="presOf" srcId="{5354B16A-E11E-1D48-AAFB-7D240D6642F5}" destId="{4D9FE055-ADA2-6C4F-B60B-7CBC43A089E6}" srcOrd="0" destOrd="0" presId="urn:microsoft.com/office/officeart/2005/8/layout/hierarchy3"/>
    <dgm:cxn modelId="{234C1E88-2064-4E59-A240-90259D7C7EB7}" type="presOf" srcId="{B41E6929-1A8C-EF44-A394-950681650A9E}" destId="{B558153D-11A8-6142-B758-300ACA5246DD}" srcOrd="0" destOrd="0" presId="urn:microsoft.com/office/officeart/2005/8/layout/hierarchy3"/>
    <dgm:cxn modelId="{5DBEB98B-738C-ED4F-AD67-E2390B57594D}" srcId="{0E8CD457-DF9A-854A-B772-A66C169B0588}" destId="{8DC7C76D-6C75-D742-A16F-9E797B71B627}" srcOrd="2" destOrd="0" parTransId="{B41E6929-1A8C-EF44-A394-950681650A9E}" sibTransId="{8FDA92A6-7F3E-944A-8CB4-9242580083D3}"/>
    <dgm:cxn modelId="{572D6C8E-9FE6-43B6-B2FA-A56A1194EDE4}" type="presOf" srcId="{AE8F0254-C357-F34A-B5AE-12FF6C1B5C26}" destId="{9DD1C069-7EFF-BE4E-9BEF-C0171B20E754}" srcOrd="0" destOrd="0" presId="urn:microsoft.com/office/officeart/2005/8/layout/hierarchy3"/>
    <dgm:cxn modelId="{F60A0691-5045-394F-956D-7F5888590301}" srcId="{F1F5D922-A647-5945-89E1-2B1158E87E7C}" destId="{0E8CD457-DF9A-854A-B772-A66C169B0588}" srcOrd="4" destOrd="0" parTransId="{08F59359-C013-7E47-94F6-E90D860A58DF}" sibTransId="{8E08FD71-FC03-CB42-A5BD-73669B7ED237}"/>
    <dgm:cxn modelId="{FDE15291-5421-4E4E-B28F-792DA5BDC74A}" type="presOf" srcId="{A5B5B806-C405-5C4C-8827-00133AAE07B2}" destId="{5E914F32-FE04-9D4B-B1A1-C47F3DB5E6F2}" srcOrd="0" destOrd="0" presId="urn:microsoft.com/office/officeart/2005/8/layout/hierarchy3"/>
    <dgm:cxn modelId="{BD730794-687B-4701-90B6-BC0EFA9E4F17}" type="presOf" srcId="{0E8CD457-DF9A-854A-B772-A66C169B0588}" destId="{8A3AFC21-FCDC-294F-83C4-28C57F26AA02}" srcOrd="0" destOrd="0" presId="urn:microsoft.com/office/officeart/2005/8/layout/hierarchy3"/>
    <dgm:cxn modelId="{FD352A94-4692-BA4B-AFBA-53ED2D5C7456}" srcId="{AC1C2011-E47F-F24C-8B7C-4E3BC1DFAB2D}" destId="{B38F1EE6-D813-644B-B80E-DC72FD03A0A2}" srcOrd="1" destOrd="0" parTransId="{35DE522F-B866-F941-BC4D-91F450E2F441}" sibTransId="{D872DCFB-4FCB-0A4F-8B9F-20D50B54D705}"/>
    <dgm:cxn modelId="{18F85895-D2F9-9B49-BDF4-644A05E7DFBE}" srcId="{41DCB497-4F67-7240-B1C3-DED53DF245ED}" destId="{FD4DD728-38B2-774B-93E8-0922AD3E17ED}" srcOrd="2" destOrd="0" parTransId="{E876EA2D-293D-BC4A-A196-3712A4F5CDB1}" sibTransId="{C3859D40-5AA0-844D-825E-EBCAAA87B506}"/>
    <dgm:cxn modelId="{E3D14298-6951-4900-AE2C-B0301E92CAD9}" type="presOf" srcId="{FD4DD728-38B2-774B-93E8-0922AD3E17ED}" destId="{DDD7714F-70F6-4041-A377-C7AF7CC48C51}" srcOrd="0" destOrd="0" presId="urn:microsoft.com/office/officeart/2005/8/layout/hierarchy3"/>
    <dgm:cxn modelId="{87004798-78DA-4817-9AB9-1D226B20873D}" type="presOf" srcId="{B38F1EE6-D813-644B-B80E-DC72FD03A0A2}" destId="{3394CABE-AB99-1C4A-B9C0-729743D086F2}" srcOrd="0" destOrd="0" presId="urn:microsoft.com/office/officeart/2005/8/layout/hierarchy3"/>
    <dgm:cxn modelId="{3603899B-4887-4955-A8C6-3BCFB82AE5E5}" type="presOf" srcId="{7A93B62C-5C6F-AC4F-8A7C-ED6B585841C1}" destId="{A3EBC1A4-3CA1-964A-8FB8-1070D94A0A1C}" srcOrd="1" destOrd="0" presId="urn:microsoft.com/office/officeart/2005/8/layout/hierarchy3"/>
    <dgm:cxn modelId="{ACE3219C-408C-4046-ADCB-CA1ADC533661}" type="presOf" srcId="{00D42E72-3F24-5446-A532-B962CD556993}" destId="{7C4B08AE-504D-5445-8927-ABADC132B1EA}" srcOrd="0" destOrd="0" presId="urn:microsoft.com/office/officeart/2005/8/layout/hierarchy3"/>
    <dgm:cxn modelId="{88DCD89D-F68B-4536-88C2-98B3B805E442}" type="presOf" srcId="{0AE37708-A5CF-DA4C-A40A-ADA98508CC23}" destId="{B575AD4C-A0B9-C546-951C-87B42CC951D5}" srcOrd="0" destOrd="0" presId="urn:microsoft.com/office/officeart/2005/8/layout/hierarchy3"/>
    <dgm:cxn modelId="{A3FE169F-67DC-4B42-B20C-7CA9C90F1C7E}" type="presOf" srcId="{299096F4-3ED2-8C4A-9186-AB4A03B8C0C6}" destId="{6023BBE9-C729-A74F-9B11-823A1A565C70}" srcOrd="0" destOrd="0" presId="urn:microsoft.com/office/officeart/2005/8/layout/hierarchy3"/>
    <dgm:cxn modelId="{FFF9D69F-B680-CD4D-822F-03F59C058A3D}" srcId="{F1F5D922-A647-5945-89E1-2B1158E87E7C}" destId="{41DCB497-4F67-7240-B1C3-DED53DF245ED}" srcOrd="0" destOrd="0" parTransId="{EF8DA8D5-FCE9-E14D-9897-BF3EC678B95A}" sibTransId="{5AAC9A2B-AAFE-704A-A72E-E6537DEA1C39}"/>
    <dgm:cxn modelId="{214AB6A0-44D5-43F2-942E-117316B62BD1}" type="presOf" srcId="{EE9B1C0E-FF5B-F64D-97DA-1EFCDC6AC4F0}" destId="{A9557D1F-C5B3-4E4A-8CE5-F4F68D65AEEB}" srcOrd="0" destOrd="0" presId="urn:microsoft.com/office/officeart/2005/8/layout/hierarchy3"/>
    <dgm:cxn modelId="{D1D6E9A5-7DF3-45E0-ABC2-056A49D5CA5B}" type="presOf" srcId="{7E0FC8F8-EB3C-C748-BAEB-624230241256}" destId="{40E2CB40-9B00-E748-B505-5DD3E635E558}" srcOrd="0" destOrd="0" presId="urn:microsoft.com/office/officeart/2005/8/layout/hierarchy3"/>
    <dgm:cxn modelId="{F7B636A9-3F1D-4E4B-BBB1-A7922D6922B2}" srcId="{F1F5D922-A647-5945-89E1-2B1158E87E7C}" destId="{8F051BCC-AB3B-394F-ADE0-550A8288E9D1}" srcOrd="2" destOrd="0" parTransId="{70BF84AD-BF26-A249-B0E7-CCCCE1D37B64}" sibTransId="{2E3D6173-BE70-F34B-950B-1C3702EC581B}"/>
    <dgm:cxn modelId="{39876EA9-9DCE-4A41-86D9-927B0F97AC65}" type="presOf" srcId="{8F051BCC-AB3B-394F-ADE0-550A8288E9D1}" destId="{3EA10360-C008-6E4F-801E-D8671B796508}" srcOrd="1" destOrd="0" presId="urn:microsoft.com/office/officeart/2005/8/layout/hierarchy3"/>
    <dgm:cxn modelId="{4CA8B3A9-6F84-F745-A397-B2638DFF7FA3}" srcId="{05F23BCB-22AA-E245-BA73-9BF467A5A01F}" destId="{8AE60BF9-091B-184E-9005-EF4555AA90DF}" srcOrd="0" destOrd="0" parTransId="{0AE37708-A5CF-DA4C-A40A-ADA98508CC23}" sibTransId="{0DFAB878-B6EC-3647-9263-A4B3AB2CF447}"/>
    <dgm:cxn modelId="{6CB113AA-9DEA-194E-B4B1-C591C50EA489}" srcId="{8F051BCC-AB3B-394F-ADE0-550A8288E9D1}" destId="{598FE064-F072-2E43-BEAE-80E649AEA9AE}" srcOrd="0" destOrd="0" parTransId="{224B842B-4E55-914D-977A-0FFA6511356C}" sibTransId="{BF168AA6-8FD0-D546-926D-CD54C2D9060A}"/>
    <dgm:cxn modelId="{841DCEAB-77F6-C149-B398-963E03A33824}" srcId="{2F9FF1B4-EA6C-7C4A-A81D-BD01257A79E7}" destId="{299096F4-3ED2-8C4A-9186-AB4A03B8C0C6}" srcOrd="1" destOrd="0" parTransId="{3E784F15-FAE9-BB49-95C5-CAC859C56617}" sibTransId="{82A589DB-9981-E041-A7ED-B93DEBADEC5B}"/>
    <dgm:cxn modelId="{5FE271AD-91AB-E540-8168-456A5C5F4FCA}" srcId="{F1F5D922-A647-5945-89E1-2B1158E87E7C}" destId="{00D42E72-3F24-5446-A532-B962CD556993}" srcOrd="5" destOrd="0" parTransId="{018CBCAC-7E13-DC4B-ABAF-4151D091C23E}" sibTransId="{159A85A7-45FC-764B-8BDD-34079D757EA7}"/>
    <dgm:cxn modelId="{21C1DCAF-B38C-4627-BDB6-FF1D0481E740}" type="presOf" srcId="{05D8882D-F16D-AB43-A3F3-30720E7BFBE0}" destId="{CEEA02DB-4226-0A4E-9CEE-E4DF1468D4FA}" srcOrd="0" destOrd="0" presId="urn:microsoft.com/office/officeart/2005/8/layout/hierarchy3"/>
    <dgm:cxn modelId="{D9B95EB0-D91B-4AC9-8CE6-395B7FE45FC1}" type="presOf" srcId="{4B304EE6-B53F-644F-9D12-5306178C6031}" destId="{7DDFF29B-2975-EF45-B31C-ECD72FD9ABF0}" srcOrd="0" destOrd="0" presId="urn:microsoft.com/office/officeart/2005/8/layout/hierarchy3"/>
    <dgm:cxn modelId="{98B839B3-F3C1-446E-8440-E55704965BAE}" type="presOf" srcId="{B0893E9D-79A1-714C-9815-3E92244E91ED}" destId="{DA57115A-100A-0B4A-9BAC-ABEC59ABB382}" srcOrd="0" destOrd="0" presId="urn:microsoft.com/office/officeart/2005/8/layout/hierarchy3"/>
    <dgm:cxn modelId="{1E5CE1B3-6395-C843-B3EF-0F8FAF4FD5BD}" srcId="{2F9FF1B4-EA6C-7C4A-A81D-BD01257A79E7}" destId="{2704C766-EA22-D046-80C0-C5A0AF66F85D}" srcOrd="2" destOrd="0" parTransId="{9F0F78F8-60F2-FB40-ACE6-A8E46E10A1BB}" sibTransId="{47C8D04F-C358-9A48-B736-2D8B40E8D061}"/>
    <dgm:cxn modelId="{9C44E8B8-8AD9-374F-AB5A-E0DFD97DEBC9}" srcId="{7A93B62C-5C6F-AC4F-8A7C-ED6B585841C1}" destId="{A8A21FA9-2703-0548-B6F7-AD6E73BDA1AE}" srcOrd="3" destOrd="0" parTransId="{C464E591-CEA1-414D-AB66-7269B863E3A7}" sibTransId="{AAE35E0D-BBED-974A-8345-D01C85A9A5C3}"/>
    <dgm:cxn modelId="{46025DB9-EA82-4E00-9D65-709C7FD24BBD}" type="presOf" srcId="{8AE60BF9-091B-184E-9005-EF4555AA90DF}" destId="{D314026A-2F78-F84E-8045-6675029EDD49}" srcOrd="0" destOrd="0" presId="urn:microsoft.com/office/officeart/2005/8/layout/hierarchy3"/>
    <dgm:cxn modelId="{8E855FBD-1276-4211-9412-D57683810E17}" type="presOf" srcId="{136354CD-7547-0F40-90F8-3C436C8B34AB}" destId="{0D1F2A58-F3A6-2749-A21E-35A839943671}" srcOrd="0" destOrd="0" presId="urn:microsoft.com/office/officeart/2005/8/layout/hierarchy3"/>
    <dgm:cxn modelId="{F81AF2BF-4375-184B-86A7-1E8B65375CB8}" srcId="{05F23BCB-22AA-E245-BA73-9BF467A5A01F}" destId="{F9D126EF-BE2E-7746-9348-9E369FE47AFA}" srcOrd="2" destOrd="0" parTransId="{4B304EE6-B53F-644F-9D12-5306178C6031}" sibTransId="{C6F6394C-4393-E447-822F-CF280956CC95}"/>
    <dgm:cxn modelId="{9CB096C1-9AF6-1945-B1A9-5046E66C8772}" srcId="{0E8CD457-DF9A-854A-B772-A66C169B0588}" destId="{16038EE6-6BF3-4B48-9980-ACC7A6420663}" srcOrd="1" destOrd="0" parTransId="{AE8F0254-C357-F34A-B5AE-12FF6C1B5C26}" sibTransId="{0B8419AD-1F4A-364B-AB5A-51FA3B4CE4AF}"/>
    <dgm:cxn modelId="{7D0239C3-089A-48BD-8447-0F52F565C6B9}" type="presOf" srcId="{95F28B24-1712-6849-B4D1-E5648E216B92}" destId="{80FE65BA-CA7D-9B4B-8240-226E315E8C05}" srcOrd="0" destOrd="0" presId="urn:microsoft.com/office/officeart/2005/8/layout/hierarchy3"/>
    <dgm:cxn modelId="{27293FC4-AFA8-C04F-827D-EF7C5DFD5E2F}" srcId="{41DCB497-4F67-7240-B1C3-DED53DF245ED}" destId="{53C1FC7C-FB8B-ED43-B796-B56D223ECB81}" srcOrd="0" destOrd="0" parTransId="{05D8882D-F16D-AB43-A3F3-30720E7BFBE0}" sibTransId="{FA1A555A-A4F9-B143-A6AC-EE0D227AD57C}"/>
    <dgm:cxn modelId="{174E45C5-3B6F-E94E-9A87-07B24C3F8DEE}" srcId="{7A93B62C-5C6F-AC4F-8A7C-ED6B585841C1}" destId="{95CB294F-A2D2-EE47-AB33-C7A9CB36A488}" srcOrd="2" destOrd="0" parTransId="{5354B16A-E11E-1D48-AAFB-7D240D6642F5}" sibTransId="{1EC4D161-9293-3849-AB95-3B40B45A1BB7}"/>
    <dgm:cxn modelId="{1D42ADC5-759A-4DF2-BC0E-A2B6B1ECBA05}" type="presOf" srcId="{95CB294F-A2D2-EE47-AB33-C7A9CB36A488}" destId="{E5C17912-BBD8-EA48-B033-E10027B13EC4}" srcOrd="0" destOrd="0" presId="urn:microsoft.com/office/officeart/2005/8/layout/hierarchy3"/>
    <dgm:cxn modelId="{107154C8-A30F-114D-8393-F817D0900E82}" srcId="{0E8CD457-DF9A-854A-B772-A66C169B0588}" destId="{3C53D9CB-B49A-1041-B36E-C876B26C0664}" srcOrd="3" destOrd="0" parTransId="{9C1B7D37-0A7C-4146-A31B-21D8316E2833}" sibTransId="{A56BD4CF-F2CB-3D42-B050-868112FD307A}"/>
    <dgm:cxn modelId="{0B966AC9-2325-1E4E-B0C8-2C19E55D858E}" srcId="{F1F5D922-A647-5945-89E1-2B1158E87E7C}" destId="{05F23BCB-22AA-E245-BA73-9BF467A5A01F}" srcOrd="7" destOrd="0" parTransId="{A7E108D9-D194-FE4F-8C1B-3BFABDB65787}" sibTransId="{5382DFFD-E064-1D40-BAEB-F6C25F6107AE}"/>
    <dgm:cxn modelId="{1B7B35CA-5E0E-482A-8171-4B031081CF9C}" type="presOf" srcId="{2704C766-EA22-D046-80C0-C5A0AF66F85D}" destId="{F8F89AFA-7427-B447-B5EA-897B3007A5D0}" srcOrd="0" destOrd="0" presId="urn:microsoft.com/office/officeart/2005/8/layout/hierarchy3"/>
    <dgm:cxn modelId="{B35CECD8-25B5-B043-BE4F-8B988CB5BE56}" srcId="{F1F5D922-A647-5945-89E1-2B1158E87E7C}" destId="{2F9FF1B4-EA6C-7C4A-A81D-BD01257A79E7}" srcOrd="1" destOrd="0" parTransId="{DA9D38D4-F370-4C44-9EDE-EC75DD5C2DFF}" sibTransId="{73A9813E-E570-3849-9A3D-EE8BC43EE56C}"/>
    <dgm:cxn modelId="{CE3AB8DE-B610-4882-9F2E-D86AA70CA9CC}" type="presOf" srcId="{BE09F905-F57D-3A41-B986-6174F9DE9EF6}" destId="{96C0B8AD-0DBD-D346-8EE3-09BFB11167B9}" srcOrd="0" destOrd="0" presId="urn:microsoft.com/office/officeart/2005/8/layout/hierarchy3"/>
    <dgm:cxn modelId="{658DDFE1-A5D6-47F5-AD5E-18F3231D2E2A}" type="presOf" srcId="{224B842B-4E55-914D-977A-0FFA6511356C}" destId="{9F877505-089D-AE47-A1F1-6C24D9394F4F}" srcOrd="0" destOrd="0" presId="urn:microsoft.com/office/officeart/2005/8/layout/hierarchy3"/>
    <dgm:cxn modelId="{6446CAE3-D817-F244-A5BF-7012A89501D4}" srcId="{7A93B62C-5C6F-AC4F-8A7C-ED6B585841C1}" destId="{95F28B24-1712-6849-B4D1-E5648E216B92}" srcOrd="0" destOrd="0" parTransId="{6FA5CCA6-E064-CA4E-A237-3841FE7B18E9}" sibTransId="{85060FCB-9889-A04A-A20E-FA173D032DFF}"/>
    <dgm:cxn modelId="{B7903AE4-8E49-024E-B1CD-62002BD104ED}" srcId="{00D42E72-3F24-5446-A532-B962CD556993}" destId="{054BC13C-9C64-9E41-9173-145D9B78BD94}" srcOrd="2" destOrd="0" parTransId="{2BB9B9E4-5FE5-D147-BAFC-E8ED24A73C6D}" sibTransId="{E99AEB17-6B59-8941-83C7-A066A176A5C1}"/>
    <dgm:cxn modelId="{62E665EA-14AC-4571-9575-1C6E95E27FEC}" type="presOf" srcId="{9C1B7D37-0A7C-4146-A31B-21D8316E2833}" destId="{12865B71-5B1C-3140-BFB5-38937DC9BCE6}" srcOrd="0" destOrd="0" presId="urn:microsoft.com/office/officeart/2005/8/layout/hierarchy3"/>
    <dgm:cxn modelId="{51D72FED-EEF6-478F-A06C-4625F4205681}" type="presOf" srcId="{4EE57A1C-0DB5-1F49-B834-B315C0F65072}" destId="{59C8AD72-1FF0-6D4F-ABDA-EF6C6C91D979}" srcOrd="0" destOrd="0" presId="urn:microsoft.com/office/officeart/2005/8/layout/hierarchy3"/>
    <dgm:cxn modelId="{7F376BF3-C432-403F-B054-9AC6CBCD0BE5}" type="presOf" srcId="{8F051BCC-AB3B-394F-ADE0-550A8288E9D1}" destId="{07B8B408-BBEA-5347-BC4A-13FA8D964551}" srcOrd="0" destOrd="0" presId="urn:microsoft.com/office/officeart/2005/8/layout/hierarchy3"/>
    <dgm:cxn modelId="{346092F8-BC1E-42A5-9A4A-78EB20FEA621}" type="presOf" srcId="{05F23BCB-22AA-E245-BA73-9BF467A5A01F}" destId="{986E21F7-1EC6-6044-A4BD-94ABA22EBA0E}" srcOrd="1" destOrd="0" presId="urn:microsoft.com/office/officeart/2005/8/layout/hierarchy3"/>
    <dgm:cxn modelId="{8919D5F8-58B9-4D8C-B73F-5B6907A2E2B9}" type="presOf" srcId="{AC1C2011-E47F-F24C-8B7C-4E3BC1DFAB2D}" destId="{20E4A332-023C-354A-A82F-E68BD57D1F45}" srcOrd="0" destOrd="0" presId="urn:microsoft.com/office/officeart/2005/8/layout/hierarchy3"/>
    <dgm:cxn modelId="{DBE86BAD-6A05-4AB6-9682-FBD81963D598}" type="presParOf" srcId="{3DA2996A-B9CC-754B-A3CD-41FF8722C935}" destId="{F9755A37-50D0-544F-94E1-A8554908B9C7}" srcOrd="0" destOrd="0" presId="urn:microsoft.com/office/officeart/2005/8/layout/hierarchy3"/>
    <dgm:cxn modelId="{37DE0EF7-A948-4EAD-A93F-B5ADE3893D49}" type="presParOf" srcId="{F9755A37-50D0-544F-94E1-A8554908B9C7}" destId="{1BEAEB11-0E14-4840-BD0C-C5D28780C2E3}" srcOrd="0" destOrd="0" presId="urn:microsoft.com/office/officeart/2005/8/layout/hierarchy3"/>
    <dgm:cxn modelId="{3910050C-69C1-49D0-BDCA-261CC8CE6430}" type="presParOf" srcId="{1BEAEB11-0E14-4840-BD0C-C5D28780C2E3}" destId="{845ED3E6-51AD-1641-949A-0F65BC3E9D79}" srcOrd="0" destOrd="0" presId="urn:microsoft.com/office/officeart/2005/8/layout/hierarchy3"/>
    <dgm:cxn modelId="{B80DCCA6-11E3-4C24-94D0-38D0ECBACD0A}" type="presParOf" srcId="{1BEAEB11-0E14-4840-BD0C-C5D28780C2E3}" destId="{79B777F2-00FE-FA4D-9CF1-63BDC88ED8C0}" srcOrd="1" destOrd="0" presId="urn:microsoft.com/office/officeart/2005/8/layout/hierarchy3"/>
    <dgm:cxn modelId="{F65790BB-1367-429C-BD72-99822C2036BE}" type="presParOf" srcId="{F9755A37-50D0-544F-94E1-A8554908B9C7}" destId="{B8CE6112-F86D-E849-B514-086069D887CB}" srcOrd="1" destOrd="0" presId="urn:microsoft.com/office/officeart/2005/8/layout/hierarchy3"/>
    <dgm:cxn modelId="{1A05F19E-733A-499F-BE50-58E2C3279B25}" type="presParOf" srcId="{B8CE6112-F86D-E849-B514-086069D887CB}" destId="{CEEA02DB-4226-0A4E-9CEE-E4DF1468D4FA}" srcOrd="0" destOrd="0" presId="urn:microsoft.com/office/officeart/2005/8/layout/hierarchy3"/>
    <dgm:cxn modelId="{ABB27F75-6CBC-4061-93F5-7FF66A875A3B}" type="presParOf" srcId="{B8CE6112-F86D-E849-B514-086069D887CB}" destId="{FE0B66B4-D0F6-534A-9FA4-5FFE3999714B}" srcOrd="1" destOrd="0" presId="urn:microsoft.com/office/officeart/2005/8/layout/hierarchy3"/>
    <dgm:cxn modelId="{9CB54D55-86E8-4043-B8A9-147D01DC838F}" type="presParOf" srcId="{B8CE6112-F86D-E849-B514-086069D887CB}" destId="{0D1F2A58-F3A6-2749-A21E-35A839943671}" srcOrd="2" destOrd="0" presId="urn:microsoft.com/office/officeart/2005/8/layout/hierarchy3"/>
    <dgm:cxn modelId="{82C48E60-0C8E-4B65-B0B1-26AE23CC109D}" type="presParOf" srcId="{B8CE6112-F86D-E849-B514-086069D887CB}" destId="{73301F81-1F1D-3F46-B392-A59C2C4C807C}" srcOrd="3" destOrd="0" presId="urn:microsoft.com/office/officeart/2005/8/layout/hierarchy3"/>
    <dgm:cxn modelId="{BAB0D29C-997F-44F0-B341-5BC35CDEE6A1}" type="presParOf" srcId="{B8CE6112-F86D-E849-B514-086069D887CB}" destId="{F25706D1-68D7-8C43-A6D7-5B86169F3E21}" srcOrd="4" destOrd="0" presId="urn:microsoft.com/office/officeart/2005/8/layout/hierarchy3"/>
    <dgm:cxn modelId="{3B2934E6-0658-4FB2-86E4-B3889C9E01B0}" type="presParOf" srcId="{B8CE6112-F86D-E849-B514-086069D887CB}" destId="{DDD7714F-70F6-4041-A377-C7AF7CC48C51}" srcOrd="5" destOrd="0" presId="urn:microsoft.com/office/officeart/2005/8/layout/hierarchy3"/>
    <dgm:cxn modelId="{FA4232B8-7658-4301-8C8A-7A4CE873BBC4}" type="presParOf" srcId="{3DA2996A-B9CC-754B-A3CD-41FF8722C935}" destId="{F6F0469B-1C50-4B4D-BF68-CF7F3D49A7AC}" srcOrd="1" destOrd="0" presId="urn:microsoft.com/office/officeart/2005/8/layout/hierarchy3"/>
    <dgm:cxn modelId="{2D4596A3-8B83-47CE-AA30-788AB6E27080}" type="presParOf" srcId="{F6F0469B-1C50-4B4D-BF68-CF7F3D49A7AC}" destId="{769E2691-6716-7D43-9378-8323DC986804}" srcOrd="0" destOrd="0" presId="urn:microsoft.com/office/officeart/2005/8/layout/hierarchy3"/>
    <dgm:cxn modelId="{05DC9363-211C-4B54-90F6-E1328401ECE8}" type="presParOf" srcId="{769E2691-6716-7D43-9378-8323DC986804}" destId="{BA133919-C9B4-1F46-8D96-28E5A05EB3DE}" srcOrd="0" destOrd="0" presId="urn:microsoft.com/office/officeart/2005/8/layout/hierarchy3"/>
    <dgm:cxn modelId="{AEEDF88E-C768-46E9-817B-29F8842C6A27}" type="presParOf" srcId="{769E2691-6716-7D43-9378-8323DC986804}" destId="{C1CC0758-1E89-014B-BCA6-B412B5096445}" srcOrd="1" destOrd="0" presId="urn:microsoft.com/office/officeart/2005/8/layout/hierarchy3"/>
    <dgm:cxn modelId="{6CFB4ACD-007F-45D9-B27B-6E8C5095ABF6}" type="presParOf" srcId="{F6F0469B-1C50-4B4D-BF68-CF7F3D49A7AC}" destId="{E2153473-BC31-5845-A6D5-1BA6957C2C0E}" srcOrd="1" destOrd="0" presId="urn:microsoft.com/office/officeart/2005/8/layout/hierarchy3"/>
    <dgm:cxn modelId="{FE926582-4603-4418-A308-5F67BCCE397D}" type="presParOf" srcId="{E2153473-BC31-5845-A6D5-1BA6957C2C0E}" destId="{A9557D1F-C5B3-4E4A-8CE5-F4F68D65AEEB}" srcOrd="0" destOrd="0" presId="urn:microsoft.com/office/officeart/2005/8/layout/hierarchy3"/>
    <dgm:cxn modelId="{035043D4-C4EB-4B41-880A-3A001F7EA35C}" type="presParOf" srcId="{E2153473-BC31-5845-A6D5-1BA6957C2C0E}" destId="{79124905-5F4B-C442-AA9D-A554D067E1CE}" srcOrd="1" destOrd="0" presId="urn:microsoft.com/office/officeart/2005/8/layout/hierarchy3"/>
    <dgm:cxn modelId="{E7CA87E3-3C79-45D1-8285-99594BB46B08}" type="presParOf" srcId="{E2153473-BC31-5845-A6D5-1BA6957C2C0E}" destId="{8AECC5BC-2112-6C47-BA97-C703B279B190}" srcOrd="2" destOrd="0" presId="urn:microsoft.com/office/officeart/2005/8/layout/hierarchy3"/>
    <dgm:cxn modelId="{52E37695-A562-4663-89F5-A9B7C396F462}" type="presParOf" srcId="{E2153473-BC31-5845-A6D5-1BA6957C2C0E}" destId="{6023BBE9-C729-A74F-9B11-823A1A565C70}" srcOrd="3" destOrd="0" presId="urn:microsoft.com/office/officeart/2005/8/layout/hierarchy3"/>
    <dgm:cxn modelId="{F1BF9B0B-F75C-4589-8C7C-87C99375355C}" type="presParOf" srcId="{E2153473-BC31-5845-A6D5-1BA6957C2C0E}" destId="{6A58B61E-B9B8-664C-AF64-AB9D200576BF}" srcOrd="4" destOrd="0" presId="urn:microsoft.com/office/officeart/2005/8/layout/hierarchy3"/>
    <dgm:cxn modelId="{E9BA599E-975D-4B0E-A955-E900DD7A14E4}" type="presParOf" srcId="{E2153473-BC31-5845-A6D5-1BA6957C2C0E}" destId="{F8F89AFA-7427-B447-B5EA-897B3007A5D0}" srcOrd="5" destOrd="0" presId="urn:microsoft.com/office/officeart/2005/8/layout/hierarchy3"/>
    <dgm:cxn modelId="{1311934A-18CC-488F-9E3C-D4D030C46346}" type="presParOf" srcId="{3DA2996A-B9CC-754B-A3CD-41FF8722C935}" destId="{D5782773-546F-4B43-B653-C19630E96BA7}" srcOrd="2" destOrd="0" presId="urn:microsoft.com/office/officeart/2005/8/layout/hierarchy3"/>
    <dgm:cxn modelId="{6B2A41DA-0620-41D8-89FE-6A01993931AC}" type="presParOf" srcId="{D5782773-546F-4B43-B653-C19630E96BA7}" destId="{640E051F-BBD0-6741-9C3C-B97A7DCE4BF5}" srcOrd="0" destOrd="0" presId="urn:microsoft.com/office/officeart/2005/8/layout/hierarchy3"/>
    <dgm:cxn modelId="{70467675-D16A-4065-9C3C-F90742FE8C05}" type="presParOf" srcId="{640E051F-BBD0-6741-9C3C-B97A7DCE4BF5}" destId="{07B8B408-BBEA-5347-BC4A-13FA8D964551}" srcOrd="0" destOrd="0" presId="urn:microsoft.com/office/officeart/2005/8/layout/hierarchy3"/>
    <dgm:cxn modelId="{3E0B6CBB-E249-41E0-8393-DE6B9143B130}" type="presParOf" srcId="{640E051F-BBD0-6741-9C3C-B97A7DCE4BF5}" destId="{3EA10360-C008-6E4F-801E-D8671B796508}" srcOrd="1" destOrd="0" presId="urn:microsoft.com/office/officeart/2005/8/layout/hierarchy3"/>
    <dgm:cxn modelId="{B66DAA4F-F6CF-4D76-9883-4B2C3B2B305C}" type="presParOf" srcId="{D5782773-546F-4B43-B653-C19630E96BA7}" destId="{4958449E-9195-834A-9D01-00FEC0F80FDB}" srcOrd="1" destOrd="0" presId="urn:microsoft.com/office/officeart/2005/8/layout/hierarchy3"/>
    <dgm:cxn modelId="{F528CD2C-343B-45E4-A1BA-9368F8CE3DCF}" type="presParOf" srcId="{4958449E-9195-834A-9D01-00FEC0F80FDB}" destId="{9F877505-089D-AE47-A1F1-6C24D9394F4F}" srcOrd="0" destOrd="0" presId="urn:microsoft.com/office/officeart/2005/8/layout/hierarchy3"/>
    <dgm:cxn modelId="{A2ACE055-E478-4830-B7E5-3AB85C0DFA7B}" type="presParOf" srcId="{4958449E-9195-834A-9D01-00FEC0F80FDB}" destId="{6FE81644-B710-2848-8BE0-2E9C1E143939}" srcOrd="1" destOrd="0" presId="urn:microsoft.com/office/officeart/2005/8/layout/hierarchy3"/>
    <dgm:cxn modelId="{741F6CFA-2A39-41F8-8BE1-4BABBAE04477}" type="presParOf" srcId="{4958449E-9195-834A-9D01-00FEC0F80FDB}" destId="{40E2CB40-9B00-E748-B505-5DD3E635E558}" srcOrd="2" destOrd="0" presId="urn:microsoft.com/office/officeart/2005/8/layout/hierarchy3"/>
    <dgm:cxn modelId="{235CECA0-67C1-4626-B6CB-1E5451D2D216}" type="presParOf" srcId="{4958449E-9195-834A-9D01-00FEC0F80FDB}" destId="{3632657C-BFC7-224C-84FA-CA5FAF7AD56D}" srcOrd="3" destOrd="0" presId="urn:microsoft.com/office/officeart/2005/8/layout/hierarchy3"/>
    <dgm:cxn modelId="{1E055C41-CD51-4AB1-9BDB-8C2898693232}" type="presParOf" srcId="{3DA2996A-B9CC-754B-A3CD-41FF8722C935}" destId="{98B7D865-64B7-E34C-AC7A-85423EB28E74}" srcOrd="3" destOrd="0" presId="urn:microsoft.com/office/officeart/2005/8/layout/hierarchy3"/>
    <dgm:cxn modelId="{B58247C5-8AD6-4CC1-A386-929E3ADEC9FD}" type="presParOf" srcId="{98B7D865-64B7-E34C-AC7A-85423EB28E74}" destId="{6F698E34-A0C1-DB47-BA5F-E9ED61FC76FC}" srcOrd="0" destOrd="0" presId="urn:microsoft.com/office/officeart/2005/8/layout/hierarchy3"/>
    <dgm:cxn modelId="{8E6E443C-3326-4AD3-8C03-7C5239B69586}" type="presParOf" srcId="{6F698E34-A0C1-DB47-BA5F-E9ED61FC76FC}" destId="{20E4A332-023C-354A-A82F-E68BD57D1F45}" srcOrd="0" destOrd="0" presId="urn:microsoft.com/office/officeart/2005/8/layout/hierarchy3"/>
    <dgm:cxn modelId="{AAB81BB2-2B7B-4E53-AF34-C59791CAFEAA}" type="presParOf" srcId="{6F698E34-A0C1-DB47-BA5F-E9ED61FC76FC}" destId="{8D2DA61F-636E-4C4F-917A-A69C97043AB4}" srcOrd="1" destOrd="0" presId="urn:microsoft.com/office/officeart/2005/8/layout/hierarchy3"/>
    <dgm:cxn modelId="{3C5ACE94-544E-469F-A57C-D7D06671E4EC}" type="presParOf" srcId="{98B7D865-64B7-E34C-AC7A-85423EB28E74}" destId="{3D423C43-8A36-9449-8EE3-38CC78B49084}" srcOrd="1" destOrd="0" presId="urn:microsoft.com/office/officeart/2005/8/layout/hierarchy3"/>
    <dgm:cxn modelId="{0B691189-7BFC-47B5-8740-BE3AA183C96D}" type="presParOf" srcId="{3D423C43-8A36-9449-8EE3-38CC78B49084}" destId="{96C0B8AD-0DBD-D346-8EE3-09BFB11167B9}" srcOrd="0" destOrd="0" presId="urn:microsoft.com/office/officeart/2005/8/layout/hierarchy3"/>
    <dgm:cxn modelId="{CD6E1BD3-584B-4F41-BA91-576F5B9A4A49}" type="presParOf" srcId="{3D423C43-8A36-9449-8EE3-38CC78B49084}" destId="{DA57115A-100A-0B4A-9BAC-ABEC59ABB382}" srcOrd="1" destOrd="0" presId="urn:microsoft.com/office/officeart/2005/8/layout/hierarchy3"/>
    <dgm:cxn modelId="{D16581CA-6310-4999-8E78-3C4A07163CCA}" type="presParOf" srcId="{3D423C43-8A36-9449-8EE3-38CC78B49084}" destId="{DD922611-B3FD-504D-B7FB-01A6B7FC4849}" srcOrd="2" destOrd="0" presId="urn:microsoft.com/office/officeart/2005/8/layout/hierarchy3"/>
    <dgm:cxn modelId="{D7EA08B6-AB0A-48C6-9FB3-E538BB6838BF}" type="presParOf" srcId="{3D423C43-8A36-9449-8EE3-38CC78B49084}" destId="{3394CABE-AB99-1C4A-B9C0-729743D086F2}" srcOrd="3" destOrd="0" presId="urn:microsoft.com/office/officeart/2005/8/layout/hierarchy3"/>
    <dgm:cxn modelId="{8554151A-A41A-4031-BDB7-23491E3F7320}" type="presParOf" srcId="{3DA2996A-B9CC-754B-A3CD-41FF8722C935}" destId="{4EDD79EB-12A8-3845-8B34-819F37DDE97D}" srcOrd="4" destOrd="0" presId="urn:microsoft.com/office/officeart/2005/8/layout/hierarchy3"/>
    <dgm:cxn modelId="{A0303018-1B6A-4AF2-A31F-9334F9598277}" type="presParOf" srcId="{4EDD79EB-12A8-3845-8B34-819F37DDE97D}" destId="{5FD2D44A-9250-6242-A721-DECC9E950A9E}" srcOrd="0" destOrd="0" presId="urn:microsoft.com/office/officeart/2005/8/layout/hierarchy3"/>
    <dgm:cxn modelId="{C8E10241-0462-4299-B8CC-C66F14F6BA56}" type="presParOf" srcId="{5FD2D44A-9250-6242-A721-DECC9E950A9E}" destId="{8A3AFC21-FCDC-294F-83C4-28C57F26AA02}" srcOrd="0" destOrd="0" presId="urn:microsoft.com/office/officeart/2005/8/layout/hierarchy3"/>
    <dgm:cxn modelId="{C50A4A1A-4DD6-4859-B67E-51DEFE495DA2}" type="presParOf" srcId="{5FD2D44A-9250-6242-A721-DECC9E950A9E}" destId="{5627C395-5AEB-6049-AFCA-210CC7A007BA}" srcOrd="1" destOrd="0" presId="urn:microsoft.com/office/officeart/2005/8/layout/hierarchy3"/>
    <dgm:cxn modelId="{1FBB3AD5-2E0B-4987-BAAE-B48F6955AEA0}" type="presParOf" srcId="{4EDD79EB-12A8-3845-8B34-819F37DDE97D}" destId="{B64C6DDD-FB4D-B245-AE67-CC0175529B3C}" srcOrd="1" destOrd="0" presId="urn:microsoft.com/office/officeart/2005/8/layout/hierarchy3"/>
    <dgm:cxn modelId="{0F3150C5-DF9E-4E66-AD17-8D7F2F00F118}" type="presParOf" srcId="{B64C6DDD-FB4D-B245-AE67-CC0175529B3C}" destId="{E976EDA8-6C28-DE4A-87DF-710404B66FFB}" srcOrd="0" destOrd="0" presId="urn:microsoft.com/office/officeart/2005/8/layout/hierarchy3"/>
    <dgm:cxn modelId="{589FC790-3193-480B-90F9-977FF0E82C03}" type="presParOf" srcId="{B64C6DDD-FB4D-B245-AE67-CC0175529B3C}" destId="{23B72943-9D2C-B447-9862-078C01E5CD48}" srcOrd="1" destOrd="0" presId="urn:microsoft.com/office/officeart/2005/8/layout/hierarchy3"/>
    <dgm:cxn modelId="{6844BB07-0178-48C4-BD90-D235A9ED121E}" type="presParOf" srcId="{B64C6DDD-FB4D-B245-AE67-CC0175529B3C}" destId="{9DD1C069-7EFF-BE4E-9BEF-C0171B20E754}" srcOrd="2" destOrd="0" presId="urn:microsoft.com/office/officeart/2005/8/layout/hierarchy3"/>
    <dgm:cxn modelId="{B55B1910-E112-4937-AB0C-3FD58526E46F}" type="presParOf" srcId="{B64C6DDD-FB4D-B245-AE67-CC0175529B3C}" destId="{14B23716-2CC8-5148-A061-F33F23804BE5}" srcOrd="3" destOrd="0" presId="urn:microsoft.com/office/officeart/2005/8/layout/hierarchy3"/>
    <dgm:cxn modelId="{32CE3007-0F5B-461B-935C-E7A333C5F2DB}" type="presParOf" srcId="{B64C6DDD-FB4D-B245-AE67-CC0175529B3C}" destId="{B558153D-11A8-6142-B758-300ACA5246DD}" srcOrd="4" destOrd="0" presId="urn:microsoft.com/office/officeart/2005/8/layout/hierarchy3"/>
    <dgm:cxn modelId="{F55E5432-8872-4827-B013-5C69CB02BDD1}" type="presParOf" srcId="{B64C6DDD-FB4D-B245-AE67-CC0175529B3C}" destId="{5F283CA6-EFED-9B45-B629-D2FA0BF4ADCB}" srcOrd="5" destOrd="0" presId="urn:microsoft.com/office/officeart/2005/8/layout/hierarchy3"/>
    <dgm:cxn modelId="{374A75B4-A437-425D-88D9-9A27DC6229E1}" type="presParOf" srcId="{B64C6DDD-FB4D-B245-AE67-CC0175529B3C}" destId="{12865B71-5B1C-3140-BFB5-38937DC9BCE6}" srcOrd="6" destOrd="0" presId="urn:microsoft.com/office/officeart/2005/8/layout/hierarchy3"/>
    <dgm:cxn modelId="{B55288A1-A2E7-41CD-B880-9A909BF078D0}" type="presParOf" srcId="{B64C6DDD-FB4D-B245-AE67-CC0175529B3C}" destId="{ABA92FFD-011E-CD40-84AF-075B95B64B93}" srcOrd="7" destOrd="0" presId="urn:microsoft.com/office/officeart/2005/8/layout/hierarchy3"/>
    <dgm:cxn modelId="{0769D821-CC52-47EA-8C98-74805F9B00E3}" type="presParOf" srcId="{3DA2996A-B9CC-754B-A3CD-41FF8722C935}" destId="{BA4AF88A-9F88-3B47-A7E0-FF47907435A1}" srcOrd="5" destOrd="0" presId="urn:microsoft.com/office/officeart/2005/8/layout/hierarchy3"/>
    <dgm:cxn modelId="{9B5F2AF6-D6AC-4632-8228-F3CFBA65211E}" type="presParOf" srcId="{BA4AF88A-9F88-3B47-A7E0-FF47907435A1}" destId="{73E51ADC-1E5D-264D-9298-5FB5C1963DAD}" srcOrd="0" destOrd="0" presId="urn:microsoft.com/office/officeart/2005/8/layout/hierarchy3"/>
    <dgm:cxn modelId="{2F19D19B-99BC-49E5-8D21-93A49FEA0CB6}" type="presParOf" srcId="{73E51ADC-1E5D-264D-9298-5FB5C1963DAD}" destId="{7C4B08AE-504D-5445-8927-ABADC132B1EA}" srcOrd="0" destOrd="0" presId="urn:microsoft.com/office/officeart/2005/8/layout/hierarchy3"/>
    <dgm:cxn modelId="{7C133547-C978-45B4-BE43-0B4D743E674A}" type="presParOf" srcId="{73E51ADC-1E5D-264D-9298-5FB5C1963DAD}" destId="{7E8E6DBD-621F-D641-8A93-A92DC836FF95}" srcOrd="1" destOrd="0" presId="urn:microsoft.com/office/officeart/2005/8/layout/hierarchy3"/>
    <dgm:cxn modelId="{07537378-622D-4542-868E-5CE4DC2BFF2B}" type="presParOf" srcId="{BA4AF88A-9F88-3B47-A7E0-FF47907435A1}" destId="{51D245AE-8965-5241-B830-73449F62C854}" srcOrd="1" destOrd="0" presId="urn:microsoft.com/office/officeart/2005/8/layout/hierarchy3"/>
    <dgm:cxn modelId="{446AC7AE-1EAE-4136-B65D-7E16C811DE13}" type="presParOf" srcId="{51D245AE-8965-5241-B830-73449F62C854}" destId="{6C7CCA5F-C27C-C242-A47B-5B9938F66569}" srcOrd="0" destOrd="0" presId="urn:microsoft.com/office/officeart/2005/8/layout/hierarchy3"/>
    <dgm:cxn modelId="{1C4782D8-67F0-4830-852A-BE9133BE0605}" type="presParOf" srcId="{51D245AE-8965-5241-B830-73449F62C854}" destId="{9B3581C4-2FD4-694B-98B7-571A5B50C826}" srcOrd="1" destOrd="0" presId="urn:microsoft.com/office/officeart/2005/8/layout/hierarchy3"/>
    <dgm:cxn modelId="{43042688-FE72-4254-AD54-A89CD9665DDE}" type="presParOf" srcId="{51D245AE-8965-5241-B830-73449F62C854}" destId="{4236FFC8-1C6E-D94D-BE64-0D9C3F213F9C}" srcOrd="2" destOrd="0" presId="urn:microsoft.com/office/officeart/2005/8/layout/hierarchy3"/>
    <dgm:cxn modelId="{DF402384-7580-4AD8-810B-52F65E59E18D}" type="presParOf" srcId="{51D245AE-8965-5241-B830-73449F62C854}" destId="{997B334E-E3E7-484A-94FD-9FE98B06E5D3}" srcOrd="3" destOrd="0" presId="urn:microsoft.com/office/officeart/2005/8/layout/hierarchy3"/>
    <dgm:cxn modelId="{44E96444-E77D-4837-A94C-B288D88D17F2}" type="presParOf" srcId="{51D245AE-8965-5241-B830-73449F62C854}" destId="{1F173F23-D7E9-2140-98A9-81B7F6662385}" srcOrd="4" destOrd="0" presId="urn:microsoft.com/office/officeart/2005/8/layout/hierarchy3"/>
    <dgm:cxn modelId="{E86D90F8-D08B-4E7A-A130-8A0357273F0D}" type="presParOf" srcId="{51D245AE-8965-5241-B830-73449F62C854}" destId="{EE3028E2-F2A6-A548-A078-22AA4CF2097D}" srcOrd="5" destOrd="0" presId="urn:microsoft.com/office/officeart/2005/8/layout/hierarchy3"/>
    <dgm:cxn modelId="{73C9C41C-17DD-43FE-94B4-B2F8E6AA0972}" type="presParOf" srcId="{51D245AE-8965-5241-B830-73449F62C854}" destId="{35EA8B6E-7CBA-3C46-ACBA-B28BF59A2486}" srcOrd="6" destOrd="0" presId="urn:microsoft.com/office/officeart/2005/8/layout/hierarchy3"/>
    <dgm:cxn modelId="{45580654-DEAB-431F-A73F-D8B9BE5D10E9}" type="presParOf" srcId="{51D245AE-8965-5241-B830-73449F62C854}" destId="{092E03E6-0390-364F-B243-BCD0C52801E2}" srcOrd="7" destOrd="0" presId="urn:microsoft.com/office/officeart/2005/8/layout/hierarchy3"/>
    <dgm:cxn modelId="{BAF262B7-3954-4D29-9FC6-822C47C3C204}" type="presParOf" srcId="{51D245AE-8965-5241-B830-73449F62C854}" destId="{5E914F32-FE04-9D4B-B1A1-C47F3DB5E6F2}" srcOrd="8" destOrd="0" presId="urn:microsoft.com/office/officeart/2005/8/layout/hierarchy3"/>
    <dgm:cxn modelId="{D2748365-FBB7-4E2B-9CBF-11818BA0591B}" type="presParOf" srcId="{51D245AE-8965-5241-B830-73449F62C854}" destId="{CC575E2B-BF36-C244-BFA9-0A26DD34CB23}" srcOrd="9" destOrd="0" presId="urn:microsoft.com/office/officeart/2005/8/layout/hierarchy3"/>
    <dgm:cxn modelId="{936902CB-0C59-418B-BC0A-3FEEDF7D184D}" type="presParOf" srcId="{3DA2996A-B9CC-754B-A3CD-41FF8722C935}" destId="{14B39D54-97F4-A642-8172-D4845DF6B17C}" srcOrd="6" destOrd="0" presId="urn:microsoft.com/office/officeart/2005/8/layout/hierarchy3"/>
    <dgm:cxn modelId="{F9241BAA-D1C9-4E42-957E-C8EA85B4E1E1}" type="presParOf" srcId="{14B39D54-97F4-A642-8172-D4845DF6B17C}" destId="{3ED6C7EF-24BB-7342-8D42-B1DAABDCCBDF}" srcOrd="0" destOrd="0" presId="urn:microsoft.com/office/officeart/2005/8/layout/hierarchy3"/>
    <dgm:cxn modelId="{5216A330-9EE0-4E3E-9015-5BC9D89E5CA5}" type="presParOf" srcId="{3ED6C7EF-24BB-7342-8D42-B1DAABDCCBDF}" destId="{51CA69B9-995A-3146-AEC4-A30299EAFD91}" srcOrd="0" destOrd="0" presId="urn:microsoft.com/office/officeart/2005/8/layout/hierarchy3"/>
    <dgm:cxn modelId="{DDBD38F2-ACE7-417D-88A8-548FBEC6529E}" type="presParOf" srcId="{3ED6C7EF-24BB-7342-8D42-B1DAABDCCBDF}" destId="{A3EBC1A4-3CA1-964A-8FB8-1070D94A0A1C}" srcOrd="1" destOrd="0" presId="urn:microsoft.com/office/officeart/2005/8/layout/hierarchy3"/>
    <dgm:cxn modelId="{787425E6-3AE0-4354-BFD0-8D37289DECAC}" type="presParOf" srcId="{14B39D54-97F4-A642-8172-D4845DF6B17C}" destId="{A8A13AA4-94BD-1E4B-9957-85A2CC29447C}" srcOrd="1" destOrd="0" presId="urn:microsoft.com/office/officeart/2005/8/layout/hierarchy3"/>
    <dgm:cxn modelId="{02B8B885-BE54-45B2-A843-A953D07BE85B}" type="presParOf" srcId="{A8A13AA4-94BD-1E4B-9957-85A2CC29447C}" destId="{437448C7-8D9E-894B-8A39-BF62597BFD1F}" srcOrd="0" destOrd="0" presId="urn:microsoft.com/office/officeart/2005/8/layout/hierarchy3"/>
    <dgm:cxn modelId="{A46EB154-CD76-470F-B273-0BCA66B66E31}" type="presParOf" srcId="{A8A13AA4-94BD-1E4B-9957-85A2CC29447C}" destId="{80FE65BA-CA7D-9B4B-8240-226E315E8C05}" srcOrd="1" destOrd="0" presId="urn:microsoft.com/office/officeart/2005/8/layout/hierarchy3"/>
    <dgm:cxn modelId="{C586DECF-DA09-4E5E-8327-42967A634F4C}" type="presParOf" srcId="{A8A13AA4-94BD-1E4B-9957-85A2CC29447C}" destId="{09E76712-CFC8-9047-BE35-9AED4279CA14}" srcOrd="2" destOrd="0" presId="urn:microsoft.com/office/officeart/2005/8/layout/hierarchy3"/>
    <dgm:cxn modelId="{073B7404-6C7A-4F6B-8967-30967D4C96C7}" type="presParOf" srcId="{A8A13AA4-94BD-1E4B-9957-85A2CC29447C}" destId="{59C8AD72-1FF0-6D4F-ABDA-EF6C6C91D979}" srcOrd="3" destOrd="0" presId="urn:microsoft.com/office/officeart/2005/8/layout/hierarchy3"/>
    <dgm:cxn modelId="{CFFDB1C9-FB97-4B1F-B807-158675F39542}" type="presParOf" srcId="{A8A13AA4-94BD-1E4B-9957-85A2CC29447C}" destId="{4D9FE055-ADA2-6C4F-B60B-7CBC43A089E6}" srcOrd="4" destOrd="0" presId="urn:microsoft.com/office/officeart/2005/8/layout/hierarchy3"/>
    <dgm:cxn modelId="{326F4D17-ED58-49B8-BCE9-5A7933BAB1F1}" type="presParOf" srcId="{A8A13AA4-94BD-1E4B-9957-85A2CC29447C}" destId="{E5C17912-BBD8-EA48-B033-E10027B13EC4}" srcOrd="5" destOrd="0" presId="urn:microsoft.com/office/officeart/2005/8/layout/hierarchy3"/>
    <dgm:cxn modelId="{8E122CE1-11DF-425B-983B-CB9E66F74985}" type="presParOf" srcId="{A8A13AA4-94BD-1E4B-9957-85A2CC29447C}" destId="{5DF2E0AC-F16A-7B43-A3E3-38B736183D8E}" srcOrd="6" destOrd="0" presId="urn:microsoft.com/office/officeart/2005/8/layout/hierarchy3"/>
    <dgm:cxn modelId="{090E573C-7D7B-43BA-9B48-4CD23087336C}" type="presParOf" srcId="{A8A13AA4-94BD-1E4B-9957-85A2CC29447C}" destId="{FCF6F526-FB38-FE4D-A494-4DFFD18DA82E}" srcOrd="7" destOrd="0" presId="urn:microsoft.com/office/officeart/2005/8/layout/hierarchy3"/>
    <dgm:cxn modelId="{A2D111F2-9BB0-40CC-9DF7-BB61E20208B1}" type="presParOf" srcId="{A8A13AA4-94BD-1E4B-9957-85A2CC29447C}" destId="{FC0FD8D0-996E-6443-9AFF-FC093786F2BB}" srcOrd="8" destOrd="0" presId="urn:microsoft.com/office/officeart/2005/8/layout/hierarchy3"/>
    <dgm:cxn modelId="{CBCD8088-6E38-4C41-AF70-915AA901E064}" type="presParOf" srcId="{A8A13AA4-94BD-1E4B-9957-85A2CC29447C}" destId="{9B9AE7A8-612B-0545-961B-2FB089BD92F9}" srcOrd="9" destOrd="0" presId="urn:microsoft.com/office/officeart/2005/8/layout/hierarchy3"/>
    <dgm:cxn modelId="{A081E6DA-7602-4304-B213-99EED0E6402D}" type="presParOf" srcId="{3DA2996A-B9CC-754B-A3CD-41FF8722C935}" destId="{AF6E4287-AEB5-7143-99D0-53C62C5C1F09}" srcOrd="7" destOrd="0" presId="urn:microsoft.com/office/officeart/2005/8/layout/hierarchy3"/>
    <dgm:cxn modelId="{482D9034-C0DD-4335-AE40-353A62DD529F}" type="presParOf" srcId="{AF6E4287-AEB5-7143-99D0-53C62C5C1F09}" destId="{78CFACDA-E4B9-F547-AD11-FB2DED584293}" srcOrd="0" destOrd="0" presId="urn:microsoft.com/office/officeart/2005/8/layout/hierarchy3"/>
    <dgm:cxn modelId="{F2524C93-7B17-4E21-91D8-C14DCA3C7AD5}" type="presParOf" srcId="{78CFACDA-E4B9-F547-AD11-FB2DED584293}" destId="{04A97591-A644-7A4E-A21C-0F455A246C0B}" srcOrd="0" destOrd="0" presId="urn:microsoft.com/office/officeart/2005/8/layout/hierarchy3"/>
    <dgm:cxn modelId="{DA4220D8-83F8-4975-A48E-A7C9D919F357}" type="presParOf" srcId="{78CFACDA-E4B9-F547-AD11-FB2DED584293}" destId="{986E21F7-1EC6-6044-A4BD-94ABA22EBA0E}" srcOrd="1" destOrd="0" presId="urn:microsoft.com/office/officeart/2005/8/layout/hierarchy3"/>
    <dgm:cxn modelId="{E3CB3BEF-72BC-4CED-AD41-BF96087CFBCF}" type="presParOf" srcId="{AF6E4287-AEB5-7143-99D0-53C62C5C1F09}" destId="{8E02AF95-9737-1F40-9B03-D871C623D3B3}" srcOrd="1" destOrd="0" presId="urn:microsoft.com/office/officeart/2005/8/layout/hierarchy3"/>
    <dgm:cxn modelId="{7D1E6F7E-27C1-4558-AE3A-1041C35954AA}" type="presParOf" srcId="{8E02AF95-9737-1F40-9B03-D871C623D3B3}" destId="{B575AD4C-A0B9-C546-951C-87B42CC951D5}" srcOrd="0" destOrd="0" presId="urn:microsoft.com/office/officeart/2005/8/layout/hierarchy3"/>
    <dgm:cxn modelId="{11D100DD-9B7C-4329-B9DA-A9CC29393761}" type="presParOf" srcId="{8E02AF95-9737-1F40-9B03-D871C623D3B3}" destId="{D314026A-2F78-F84E-8045-6675029EDD49}" srcOrd="1" destOrd="0" presId="urn:microsoft.com/office/officeart/2005/8/layout/hierarchy3"/>
    <dgm:cxn modelId="{21D297E8-087D-4941-A9CC-5095889B0245}" type="presParOf" srcId="{8E02AF95-9737-1F40-9B03-D871C623D3B3}" destId="{16E58DE1-A091-5548-8240-35067CD2D11F}" srcOrd="2" destOrd="0" presId="urn:microsoft.com/office/officeart/2005/8/layout/hierarchy3"/>
    <dgm:cxn modelId="{D4586A05-44D0-4596-814B-9AE02139D2B0}" type="presParOf" srcId="{8E02AF95-9737-1F40-9B03-D871C623D3B3}" destId="{EFCCE37F-D0FD-4444-9D80-DBC41CEF80D2}" srcOrd="3" destOrd="0" presId="urn:microsoft.com/office/officeart/2005/8/layout/hierarchy3"/>
    <dgm:cxn modelId="{67C50FC6-D21C-40BD-A0E2-534724EEFE73}" type="presParOf" srcId="{8E02AF95-9737-1F40-9B03-D871C623D3B3}" destId="{7DDFF29B-2975-EF45-B31C-ECD72FD9ABF0}" srcOrd="4" destOrd="0" presId="urn:microsoft.com/office/officeart/2005/8/layout/hierarchy3"/>
    <dgm:cxn modelId="{845C4B68-4FF8-4717-AF74-8019E95A0724}" type="presParOf" srcId="{8E02AF95-9737-1F40-9B03-D871C623D3B3}" destId="{3A801272-935B-9A41-A9D1-B14936F53555}"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5ED3E6-51AD-1641-949A-0F65BC3E9D79}">
      <dsp:nvSpPr>
        <dsp:cNvPr id="0" name=""/>
        <dsp:cNvSpPr/>
      </dsp:nvSpPr>
      <dsp:spPr>
        <a:xfrm>
          <a:off x="1063" y="260886"/>
          <a:ext cx="893419" cy="44670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Functional suitability</a:t>
          </a:r>
        </a:p>
      </dsp:txBody>
      <dsp:txXfrm>
        <a:off x="14147" y="273970"/>
        <a:ext cx="867251" cy="420541"/>
      </dsp:txXfrm>
    </dsp:sp>
    <dsp:sp modelId="{CEEA02DB-4226-0A4E-9CEE-E4DF1468D4FA}">
      <dsp:nvSpPr>
        <dsp:cNvPr id="0" name=""/>
        <dsp:cNvSpPr/>
      </dsp:nvSpPr>
      <dsp:spPr>
        <a:xfrm>
          <a:off x="44685"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E0B66B4-D0F6-534A-9FA4-5FFE3999714B}">
      <dsp:nvSpPr>
        <dsp:cNvPr id="0" name=""/>
        <dsp:cNvSpPr/>
      </dsp:nvSpPr>
      <dsp:spPr>
        <a:xfrm>
          <a:off x="179747"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Functional correctness</a:t>
          </a:r>
        </a:p>
      </dsp:txBody>
      <dsp:txXfrm>
        <a:off x="192831" y="832357"/>
        <a:ext cx="688567" cy="420541"/>
      </dsp:txXfrm>
    </dsp:sp>
    <dsp:sp modelId="{0D1F2A58-F3A6-2749-A21E-35A839943671}">
      <dsp:nvSpPr>
        <dsp:cNvPr id="0" name=""/>
        <dsp:cNvSpPr/>
      </dsp:nvSpPr>
      <dsp:spPr>
        <a:xfrm>
          <a:off x="44685"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301F81-1F1D-3F46-B392-A59C2C4C807C}">
      <dsp:nvSpPr>
        <dsp:cNvPr id="0" name=""/>
        <dsp:cNvSpPr/>
      </dsp:nvSpPr>
      <dsp:spPr>
        <a:xfrm>
          <a:off x="179747"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8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Functional complete-ness</a:t>
          </a:r>
        </a:p>
      </dsp:txBody>
      <dsp:txXfrm>
        <a:off x="192831" y="1390744"/>
        <a:ext cx="688567" cy="420541"/>
      </dsp:txXfrm>
    </dsp:sp>
    <dsp:sp modelId="{F25706D1-68D7-8C43-A6D7-5B86169F3E21}">
      <dsp:nvSpPr>
        <dsp:cNvPr id="0" name=""/>
        <dsp:cNvSpPr/>
      </dsp:nvSpPr>
      <dsp:spPr>
        <a:xfrm>
          <a:off x="44685"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D7714F-70F6-4041-A377-C7AF7CC48C51}">
      <dsp:nvSpPr>
        <dsp:cNvPr id="0" name=""/>
        <dsp:cNvSpPr/>
      </dsp:nvSpPr>
      <dsp:spPr>
        <a:xfrm>
          <a:off x="179747"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6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Functional appropriate-ness</a:t>
          </a:r>
        </a:p>
      </dsp:txBody>
      <dsp:txXfrm>
        <a:off x="192831" y="1949131"/>
        <a:ext cx="688567" cy="420541"/>
      </dsp:txXfrm>
    </dsp:sp>
    <dsp:sp modelId="{BA133919-C9B4-1F46-8D96-28E5A05EB3DE}">
      <dsp:nvSpPr>
        <dsp:cNvPr id="0" name=""/>
        <dsp:cNvSpPr/>
      </dsp:nvSpPr>
      <dsp:spPr>
        <a:xfrm>
          <a:off x="1117838" y="260886"/>
          <a:ext cx="893419" cy="446709"/>
        </a:xfrm>
        <a:prstGeom prst="roundRect">
          <a:avLst>
            <a:gd name="adj" fmla="val 10000"/>
          </a:avLst>
        </a:prstGeom>
        <a:solidFill>
          <a:schemeClr val="accent4">
            <a:hueOff val="0"/>
            <a:satOff val="0"/>
            <a:lumOff val="104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Performance efficiency</a:t>
          </a:r>
        </a:p>
      </dsp:txBody>
      <dsp:txXfrm>
        <a:off x="1130922" y="273970"/>
        <a:ext cx="867251" cy="420541"/>
      </dsp:txXfrm>
    </dsp:sp>
    <dsp:sp modelId="{A9557D1F-C5B3-4E4A-8CE5-F4F68D65AEEB}">
      <dsp:nvSpPr>
        <dsp:cNvPr id="0" name=""/>
        <dsp:cNvSpPr/>
      </dsp:nvSpPr>
      <dsp:spPr>
        <a:xfrm>
          <a:off x="1161460"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9124905-5F4B-C442-AA9D-A554D067E1CE}">
      <dsp:nvSpPr>
        <dsp:cNvPr id="0" name=""/>
        <dsp:cNvSpPr/>
      </dsp:nvSpPr>
      <dsp:spPr>
        <a:xfrm>
          <a:off x="1296521"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846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Capacity</a:t>
          </a:r>
        </a:p>
      </dsp:txBody>
      <dsp:txXfrm>
        <a:off x="1309605" y="832357"/>
        <a:ext cx="688567" cy="420541"/>
      </dsp:txXfrm>
    </dsp:sp>
    <dsp:sp modelId="{8AECC5BC-2112-6C47-BA97-C703B279B190}">
      <dsp:nvSpPr>
        <dsp:cNvPr id="0" name=""/>
        <dsp:cNvSpPr/>
      </dsp:nvSpPr>
      <dsp:spPr>
        <a:xfrm>
          <a:off x="1161460"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023BBE9-C729-A74F-9B11-823A1A565C70}">
      <dsp:nvSpPr>
        <dsp:cNvPr id="0" name=""/>
        <dsp:cNvSpPr/>
      </dsp:nvSpPr>
      <dsp:spPr>
        <a:xfrm>
          <a:off x="1296521"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128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Resource utilization</a:t>
          </a:r>
        </a:p>
      </dsp:txBody>
      <dsp:txXfrm>
        <a:off x="1309605" y="1390744"/>
        <a:ext cx="688567" cy="420541"/>
      </dsp:txXfrm>
    </dsp:sp>
    <dsp:sp modelId="{6A58B61E-B9B8-664C-AF64-AB9D200576BF}">
      <dsp:nvSpPr>
        <dsp:cNvPr id="0" name=""/>
        <dsp:cNvSpPr/>
      </dsp:nvSpPr>
      <dsp:spPr>
        <a:xfrm>
          <a:off x="1161460"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8F89AFA-7427-B447-B5EA-897B3007A5D0}">
      <dsp:nvSpPr>
        <dsp:cNvPr id="0" name=""/>
        <dsp:cNvSpPr/>
      </dsp:nvSpPr>
      <dsp:spPr>
        <a:xfrm>
          <a:off x="1296521"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410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Time behavior</a:t>
          </a:r>
        </a:p>
      </dsp:txBody>
      <dsp:txXfrm>
        <a:off x="1309605" y="1949131"/>
        <a:ext cx="688567" cy="420541"/>
      </dsp:txXfrm>
    </dsp:sp>
    <dsp:sp modelId="{07B8B408-BBEA-5347-BC4A-13FA8D964551}">
      <dsp:nvSpPr>
        <dsp:cNvPr id="0" name=""/>
        <dsp:cNvSpPr/>
      </dsp:nvSpPr>
      <dsp:spPr>
        <a:xfrm>
          <a:off x="2234612" y="260886"/>
          <a:ext cx="893419" cy="446709"/>
        </a:xfrm>
        <a:prstGeom prst="roundRect">
          <a:avLst>
            <a:gd name="adj" fmla="val 10000"/>
          </a:avLst>
        </a:prstGeom>
        <a:solidFill>
          <a:schemeClr val="accent4">
            <a:hueOff val="0"/>
            <a:satOff val="0"/>
            <a:lumOff val="209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err="1"/>
            <a:t>Compatib-ility</a:t>
          </a:r>
          <a:endParaRPr lang="en-US" sz="1200" b="1" kern="1200" dirty="0"/>
        </a:p>
      </dsp:txBody>
      <dsp:txXfrm>
        <a:off x="2247696" y="273970"/>
        <a:ext cx="867251" cy="420541"/>
      </dsp:txXfrm>
    </dsp:sp>
    <dsp:sp modelId="{9F877505-089D-AE47-A1F1-6C24D9394F4F}">
      <dsp:nvSpPr>
        <dsp:cNvPr id="0" name=""/>
        <dsp:cNvSpPr/>
      </dsp:nvSpPr>
      <dsp:spPr>
        <a:xfrm>
          <a:off x="2278234"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FE81644-B710-2848-8BE0-2E9C1E143939}">
      <dsp:nvSpPr>
        <dsp:cNvPr id="0" name=""/>
        <dsp:cNvSpPr/>
      </dsp:nvSpPr>
      <dsp:spPr>
        <a:xfrm>
          <a:off x="2413296"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69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Interop-erability</a:t>
          </a:r>
          <a:endParaRPr lang="en-US" sz="1000" b="1" kern="1200" dirty="0"/>
        </a:p>
      </dsp:txBody>
      <dsp:txXfrm>
        <a:off x="2426380" y="832357"/>
        <a:ext cx="688567" cy="420541"/>
      </dsp:txXfrm>
    </dsp:sp>
    <dsp:sp modelId="{40E2CB40-9B00-E748-B505-5DD3E635E558}">
      <dsp:nvSpPr>
        <dsp:cNvPr id="0" name=""/>
        <dsp:cNvSpPr/>
      </dsp:nvSpPr>
      <dsp:spPr>
        <a:xfrm>
          <a:off x="2278234"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32657C-BFC7-224C-84FA-CA5FAF7AD56D}">
      <dsp:nvSpPr>
        <dsp:cNvPr id="0" name=""/>
        <dsp:cNvSpPr/>
      </dsp:nvSpPr>
      <dsp:spPr>
        <a:xfrm>
          <a:off x="2413296"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974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Co-existence</a:t>
          </a:r>
        </a:p>
      </dsp:txBody>
      <dsp:txXfrm>
        <a:off x="2426380" y="1390744"/>
        <a:ext cx="688567" cy="420541"/>
      </dsp:txXfrm>
    </dsp:sp>
    <dsp:sp modelId="{20E4A332-023C-354A-A82F-E68BD57D1F45}">
      <dsp:nvSpPr>
        <dsp:cNvPr id="0" name=""/>
        <dsp:cNvSpPr/>
      </dsp:nvSpPr>
      <dsp:spPr>
        <a:xfrm>
          <a:off x="3351386" y="260886"/>
          <a:ext cx="893419" cy="446709"/>
        </a:xfrm>
        <a:prstGeom prst="roundRect">
          <a:avLst>
            <a:gd name="adj" fmla="val 10000"/>
          </a:avLst>
        </a:prstGeom>
        <a:solidFill>
          <a:schemeClr val="accent4">
            <a:hueOff val="0"/>
            <a:satOff val="0"/>
            <a:lumOff val="314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Usability</a:t>
          </a:r>
        </a:p>
      </dsp:txBody>
      <dsp:txXfrm>
        <a:off x="3364470" y="273970"/>
        <a:ext cx="867251" cy="420541"/>
      </dsp:txXfrm>
    </dsp:sp>
    <dsp:sp modelId="{96C0B8AD-0DBD-D346-8EE3-09BFB11167B9}">
      <dsp:nvSpPr>
        <dsp:cNvPr id="0" name=""/>
        <dsp:cNvSpPr/>
      </dsp:nvSpPr>
      <dsp:spPr>
        <a:xfrm>
          <a:off x="3395008"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57115A-100A-0B4A-9BAC-ABEC59ABB382}">
      <dsp:nvSpPr>
        <dsp:cNvPr id="0" name=""/>
        <dsp:cNvSpPr/>
      </dsp:nvSpPr>
      <dsp:spPr>
        <a:xfrm>
          <a:off x="3530070"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256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Operability </a:t>
          </a:r>
        </a:p>
      </dsp:txBody>
      <dsp:txXfrm>
        <a:off x="3543154" y="832357"/>
        <a:ext cx="688567" cy="420541"/>
      </dsp:txXfrm>
    </dsp:sp>
    <dsp:sp modelId="{DD922611-B3FD-504D-B7FB-01A6B7FC4849}">
      <dsp:nvSpPr>
        <dsp:cNvPr id="0" name=""/>
        <dsp:cNvSpPr/>
      </dsp:nvSpPr>
      <dsp:spPr>
        <a:xfrm>
          <a:off x="3395008"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94CABE-AB99-1C4A-B9C0-729743D086F2}">
      <dsp:nvSpPr>
        <dsp:cNvPr id="0" name=""/>
        <dsp:cNvSpPr/>
      </dsp:nvSpPr>
      <dsp:spPr>
        <a:xfrm>
          <a:off x="3530070"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5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User error protection</a:t>
          </a:r>
        </a:p>
      </dsp:txBody>
      <dsp:txXfrm>
        <a:off x="3543154" y="1390744"/>
        <a:ext cx="688567" cy="420541"/>
      </dsp:txXfrm>
    </dsp:sp>
    <dsp:sp modelId="{8A3AFC21-FCDC-294F-83C4-28C57F26AA02}">
      <dsp:nvSpPr>
        <dsp:cNvPr id="0" name=""/>
        <dsp:cNvSpPr/>
      </dsp:nvSpPr>
      <dsp:spPr>
        <a:xfrm>
          <a:off x="4468161" y="260886"/>
          <a:ext cx="893419" cy="446709"/>
        </a:xfrm>
        <a:prstGeom prst="roundRect">
          <a:avLst>
            <a:gd name="adj" fmla="val 10000"/>
          </a:avLst>
        </a:prstGeom>
        <a:solidFill>
          <a:schemeClr val="accent4">
            <a:hueOff val="0"/>
            <a:satOff val="0"/>
            <a:lumOff val="419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Reliability</a:t>
          </a:r>
        </a:p>
      </dsp:txBody>
      <dsp:txXfrm>
        <a:off x="4481245" y="273970"/>
        <a:ext cx="867251" cy="420541"/>
      </dsp:txXfrm>
    </dsp:sp>
    <dsp:sp modelId="{E976EDA8-6C28-DE4A-87DF-710404B66FFB}">
      <dsp:nvSpPr>
        <dsp:cNvPr id="0" name=""/>
        <dsp:cNvSpPr/>
      </dsp:nvSpPr>
      <dsp:spPr>
        <a:xfrm>
          <a:off x="4511783"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3B72943-9D2C-B447-9862-078C01E5CD48}">
      <dsp:nvSpPr>
        <dsp:cNvPr id="0" name=""/>
        <dsp:cNvSpPr/>
      </dsp:nvSpPr>
      <dsp:spPr>
        <a:xfrm>
          <a:off x="4646845"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820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Availability</a:t>
          </a:r>
          <a:endParaRPr lang="en-US" sz="1000" b="1" kern="1200" dirty="0"/>
        </a:p>
      </dsp:txBody>
      <dsp:txXfrm>
        <a:off x="4659929" y="832357"/>
        <a:ext cx="688567" cy="420541"/>
      </dsp:txXfrm>
    </dsp:sp>
    <dsp:sp modelId="{9DD1C069-7EFF-BE4E-9BEF-C0171B20E754}">
      <dsp:nvSpPr>
        <dsp:cNvPr id="0" name=""/>
        <dsp:cNvSpPr/>
      </dsp:nvSpPr>
      <dsp:spPr>
        <a:xfrm>
          <a:off x="4511783"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4B23716-2CC8-5148-A061-F33F23804BE5}">
      <dsp:nvSpPr>
        <dsp:cNvPr id="0" name=""/>
        <dsp:cNvSpPr/>
      </dsp:nvSpPr>
      <dsp:spPr>
        <a:xfrm>
          <a:off x="4646845"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102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err="1"/>
            <a:t>Recoverab-ility</a:t>
          </a:r>
          <a:endParaRPr lang="en-US" sz="1000" b="1" kern="1200" dirty="0"/>
        </a:p>
      </dsp:txBody>
      <dsp:txXfrm>
        <a:off x="4659929" y="1390744"/>
        <a:ext cx="688567" cy="420541"/>
      </dsp:txXfrm>
    </dsp:sp>
    <dsp:sp modelId="{B558153D-11A8-6142-B758-300ACA5246DD}">
      <dsp:nvSpPr>
        <dsp:cNvPr id="0" name=""/>
        <dsp:cNvSpPr/>
      </dsp:nvSpPr>
      <dsp:spPr>
        <a:xfrm>
          <a:off x="4511783"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283CA6-EFED-9B45-B629-D2FA0BF4ADCB}">
      <dsp:nvSpPr>
        <dsp:cNvPr id="0" name=""/>
        <dsp:cNvSpPr/>
      </dsp:nvSpPr>
      <dsp:spPr>
        <a:xfrm>
          <a:off x="4646845"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384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Maturity </a:t>
          </a:r>
        </a:p>
      </dsp:txBody>
      <dsp:txXfrm>
        <a:off x="4659929" y="1949131"/>
        <a:ext cx="688567" cy="420541"/>
      </dsp:txXfrm>
    </dsp:sp>
    <dsp:sp modelId="{12865B71-5B1C-3140-BFB5-38937DC9BCE6}">
      <dsp:nvSpPr>
        <dsp:cNvPr id="0" name=""/>
        <dsp:cNvSpPr/>
      </dsp:nvSpPr>
      <dsp:spPr>
        <a:xfrm>
          <a:off x="4511783" y="707595"/>
          <a:ext cx="91440" cy="2010194"/>
        </a:xfrm>
        <a:custGeom>
          <a:avLst/>
          <a:gdLst/>
          <a:ahLst/>
          <a:cxnLst/>
          <a:rect l="0" t="0" r="0" b="0"/>
          <a:pathLst>
            <a:path>
              <a:moveTo>
                <a:pt x="45720" y="0"/>
              </a:moveTo>
              <a:lnTo>
                <a:pt x="45720" y="2010194"/>
              </a:lnTo>
              <a:lnTo>
                <a:pt x="135061" y="2010194"/>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BA92FFD-011E-CD40-84AF-075B95B64B93}">
      <dsp:nvSpPr>
        <dsp:cNvPr id="0" name=""/>
        <dsp:cNvSpPr/>
      </dsp:nvSpPr>
      <dsp:spPr>
        <a:xfrm>
          <a:off x="4646845" y="2494434"/>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666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Fault tolerance </a:t>
          </a:r>
        </a:p>
      </dsp:txBody>
      <dsp:txXfrm>
        <a:off x="4659929" y="2507518"/>
        <a:ext cx="688567" cy="420541"/>
      </dsp:txXfrm>
    </dsp:sp>
    <dsp:sp modelId="{7C4B08AE-504D-5445-8927-ABADC132B1EA}">
      <dsp:nvSpPr>
        <dsp:cNvPr id="0" name=""/>
        <dsp:cNvSpPr/>
      </dsp:nvSpPr>
      <dsp:spPr>
        <a:xfrm>
          <a:off x="5584935" y="260886"/>
          <a:ext cx="893419" cy="446709"/>
        </a:xfrm>
        <a:prstGeom prst="roundRect">
          <a:avLst>
            <a:gd name="adj" fmla="val 10000"/>
          </a:avLst>
        </a:prstGeom>
        <a:solidFill>
          <a:schemeClr val="accent4">
            <a:hueOff val="0"/>
            <a:satOff val="0"/>
            <a:lumOff val="523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Security </a:t>
          </a:r>
        </a:p>
      </dsp:txBody>
      <dsp:txXfrm>
        <a:off x="5598019" y="273970"/>
        <a:ext cx="867251" cy="420541"/>
      </dsp:txXfrm>
    </dsp:sp>
    <dsp:sp modelId="{6C7CCA5F-C27C-C242-A47B-5B9938F66569}">
      <dsp:nvSpPr>
        <dsp:cNvPr id="0" name=""/>
        <dsp:cNvSpPr/>
      </dsp:nvSpPr>
      <dsp:spPr>
        <a:xfrm>
          <a:off x="5628557"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3581C4-2FD4-694B-98B7-571A5B50C826}">
      <dsp:nvSpPr>
        <dsp:cNvPr id="0" name=""/>
        <dsp:cNvSpPr/>
      </dsp:nvSpPr>
      <dsp:spPr>
        <a:xfrm>
          <a:off x="5763619"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948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Integrity </a:t>
          </a:r>
          <a:endParaRPr lang="en-US" sz="1000" b="1" kern="1200" dirty="0"/>
        </a:p>
      </dsp:txBody>
      <dsp:txXfrm>
        <a:off x="5776703" y="832357"/>
        <a:ext cx="688567" cy="420541"/>
      </dsp:txXfrm>
    </dsp:sp>
    <dsp:sp modelId="{4236FFC8-1C6E-D94D-BE64-0D9C3F213F9C}">
      <dsp:nvSpPr>
        <dsp:cNvPr id="0" name=""/>
        <dsp:cNvSpPr/>
      </dsp:nvSpPr>
      <dsp:spPr>
        <a:xfrm>
          <a:off x="5628557"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97B334E-E3E7-484A-94FD-9FE98B06E5D3}">
      <dsp:nvSpPr>
        <dsp:cNvPr id="0" name=""/>
        <dsp:cNvSpPr/>
      </dsp:nvSpPr>
      <dsp:spPr>
        <a:xfrm>
          <a:off x="5763619"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230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Confidential-ity</a:t>
          </a:r>
          <a:endParaRPr lang="en-US" sz="1000" b="1" kern="1200" dirty="0"/>
        </a:p>
      </dsp:txBody>
      <dsp:txXfrm>
        <a:off x="5776703" y="1390744"/>
        <a:ext cx="688567" cy="420541"/>
      </dsp:txXfrm>
    </dsp:sp>
    <dsp:sp modelId="{1F173F23-D7E9-2140-98A9-81B7F6662385}">
      <dsp:nvSpPr>
        <dsp:cNvPr id="0" name=""/>
        <dsp:cNvSpPr/>
      </dsp:nvSpPr>
      <dsp:spPr>
        <a:xfrm>
          <a:off x="5628557"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E3028E2-F2A6-A548-A078-22AA4CF2097D}">
      <dsp:nvSpPr>
        <dsp:cNvPr id="0" name=""/>
        <dsp:cNvSpPr/>
      </dsp:nvSpPr>
      <dsp:spPr>
        <a:xfrm>
          <a:off x="5763619"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51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Non-repudiation</a:t>
          </a:r>
          <a:endParaRPr lang="en-US" sz="1000" b="1" kern="1200" dirty="0"/>
        </a:p>
      </dsp:txBody>
      <dsp:txXfrm>
        <a:off x="5776703" y="1949131"/>
        <a:ext cx="688567" cy="420541"/>
      </dsp:txXfrm>
    </dsp:sp>
    <dsp:sp modelId="{35EA8B6E-7CBA-3C46-ACBA-B28BF59A2486}">
      <dsp:nvSpPr>
        <dsp:cNvPr id="0" name=""/>
        <dsp:cNvSpPr/>
      </dsp:nvSpPr>
      <dsp:spPr>
        <a:xfrm>
          <a:off x="5628557" y="707595"/>
          <a:ext cx="91440" cy="2010194"/>
        </a:xfrm>
        <a:custGeom>
          <a:avLst/>
          <a:gdLst/>
          <a:ahLst/>
          <a:cxnLst/>
          <a:rect l="0" t="0" r="0" b="0"/>
          <a:pathLst>
            <a:path>
              <a:moveTo>
                <a:pt x="45720" y="0"/>
              </a:moveTo>
              <a:lnTo>
                <a:pt x="45720" y="2010194"/>
              </a:lnTo>
              <a:lnTo>
                <a:pt x="135061" y="2010194"/>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92E03E6-0390-364F-B243-BCD0C52801E2}">
      <dsp:nvSpPr>
        <dsp:cNvPr id="0" name=""/>
        <dsp:cNvSpPr/>
      </dsp:nvSpPr>
      <dsp:spPr>
        <a:xfrm>
          <a:off x="5763619" y="2494434"/>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794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Accountab-ility</a:t>
          </a:r>
          <a:endParaRPr lang="en-US" sz="1000" b="1" kern="1200" dirty="0"/>
        </a:p>
      </dsp:txBody>
      <dsp:txXfrm>
        <a:off x="5776703" y="2507518"/>
        <a:ext cx="688567" cy="420541"/>
      </dsp:txXfrm>
    </dsp:sp>
    <dsp:sp modelId="{5E914F32-FE04-9D4B-B1A1-C47F3DB5E6F2}">
      <dsp:nvSpPr>
        <dsp:cNvPr id="0" name=""/>
        <dsp:cNvSpPr/>
      </dsp:nvSpPr>
      <dsp:spPr>
        <a:xfrm>
          <a:off x="5628557" y="707595"/>
          <a:ext cx="91440" cy="2568581"/>
        </a:xfrm>
        <a:custGeom>
          <a:avLst/>
          <a:gdLst/>
          <a:ahLst/>
          <a:cxnLst/>
          <a:rect l="0" t="0" r="0" b="0"/>
          <a:pathLst>
            <a:path>
              <a:moveTo>
                <a:pt x="45720" y="0"/>
              </a:moveTo>
              <a:lnTo>
                <a:pt x="45720" y="2568581"/>
              </a:lnTo>
              <a:lnTo>
                <a:pt x="135061" y="2568581"/>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C575E2B-BF36-C244-BFA9-0A26DD34CB23}">
      <dsp:nvSpPr>
        <dsp:cNvPr id="0" name=""/>
        <dsp:cNvSpPr/>
      </dsp:nvSpPr>
      <dsp:spPr>
        <a:xfrm>
          <a:off x="5763619" y="3052822"/>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0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Authent-icity</a:t>
          </a:r>
          <a:endParaRPr lang="en-US" sz="1000" b="1" kern="1200" dirty="0"/>
        </a:p>
      </dsp:txBody>
      <dsp:txXfrm>
        <a:off x="5776703" y="3065906"/>
        <a:ext cx="688567" cy="420541"/>
      </dsp:txXfrm>
    </dsp:sp>
    <dsp:sp modelId="{51CA69B9-995A-3146-AEC4-A30299EAFD91}">
      <dsp:nvSpPr>
        <dsp:cNvPr id="0" name=""/>
        <dsp:cNvSpPr/>
      </dsp:nvSpPr>
      <dsp:spPr>
        <a:xfrm>
          <a:off x="6701710" y="260886"/>
          <a:ext cx="893419" cy="446709"/>
        </a:xfrm>
        <a:prstGeom prst="roundRect">
          <a:avLst>
            <a:gd name="adj" fmla="val 10000"/>
          </a:avLst>
        </a:prstGeom>
        <a:solidFill>
          <a:schemeClr val="accent4">
            <a:hueOff val="0"/>
            <a:satOff val="0"/>
            <a:lumOff val="628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Maintain-ability</a:t>
          </a:r>
        </a:p>
      </dsp:txBody>
      <dsp:txXfrm>
        <a:off x="6714794" y="273970"/>
        <a:ext cx="867251" cy="420541"/>
      </dsp:txXfrm>
    </dsp:sp>
    <dsp:sp modelId="{437448C7-8D9E-894B-8A39-BF62597BFD1F}">
      <dsp:nvSpPr>
        <dsp:cNvPr id="0" name=""/>
        <dsp:cNvSpPr/>
      </dsp:nvSpPr>
      <dsp:spPr>
        <a:xfrm>
          <a:off x="6745332"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0FE65BA-CA7D-9B4B-8240-226E315E8C05}">
      <dsp:nvSpPr>
        <dsp:cNvPr id="0" name=""/>
        <dsp:cNvSpPr/>
      </dsp:nvSpPr>
      <dsp:spPr>
        <a:xfrm>
          <a:off x="6880394"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358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Modularity</a:t>
          </a:r>
          <a:endParaRPr lang="en-US" sz="1000" b="1" kern="1200" dirty="0"/>
        </a:p>
      </dsp:txBody>
      <dsp:txXfrm>
        <a:off x="6893478" y="832357"/>
        <a:ext cx="688567" cy="420541"/>
      </dsp:txXfrm>
    </dsp:sp>
    <dsp:sp modelId="{09E76712-CFC8-9047-BE35-9AED4279CA14}">
      <dsp:nvSpPr>
        <dsp:cNvPr id="0" name=""/>
        <dsp:cNvSpPr/>
      </dsp:nvSpPr>
      <dsp:spPr>
        <a:xfrm>
          <a:off x="6745332"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9C8AD72-1FF0-6D4F-ABDA-EF6C6C91D979}">
      <dsp:nvSpPr>
        <dsp:cNvPr id="0" name=""/>
        <dsp:cNvSpPr/>
      </dsp:nvSpPr>
      <dsp:spPr>
        <a:xfrm>
          <a:off x="6880394"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64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err="1"/>
            <a:t>Reuseability</a:t>
          </a:r>
          <a:endParaRPr lang="en-US" sz="1000" b="1" kern="1200" dirty="0"/>
        </a:p>
      </dsp:txBody>
      <dsp:txXfrm>
        <a:off x="6893478" y="1390744"/>
        <a:ext cx="688567" cy="420541"/>
      </dsp:txXfrm>
    </dsp:sp>
    <dsp:sp modelId="{4D9FE055-ADA2-6C4F-B60B-7CBC43A089E6}">
      <dsp:nvSpPr>
        <dsp:cNvPr id="0" name=""/>
        <dsp:cNvSpPr/>
      </dsp:nvSpPr>
      <dsp:spPr>
        <a:xfrm>
          <a:off x="6745332"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5C17912-BBD8-EA48-B033-E10027B13EC4}">
      <dsp:nvSpPr>
        <dsp:cNvPr id="0" name=""/>
        <dsp:cNvSpPr/>
      </dsp:nvSpPr>
      <dsp:spPr>
        <a:xfrm>
          <a:off x="6880394"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923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err="1"/>
            <a:t>Modifiab-ility</a:t>
          </a:r>
          <a:endParaRPr lang="en-US" sz="1000" b="1" kern="1200" dirty="0"/>
        </a:p>
      </dsp:txBody>
      <dsp:txXfrm>
        <a:off x="6893478" y="1949131"/>
        <a:ext cx="688567" cy="420541"/>
      </dsp:txXfrm>
    </dsp:sp>
    <dsp:sp modelId="{5DF2E0AC-F16A-7B43-A3E3-38B736183D8E}">
      <dsp:nvSpPr>
        <dsp:cNvPr id="0" name=""/>
        <dsp:cNvSpPr/>
      </dsp:nvSpPr>
      <dsp:spPr>
        <a:xfrm>
          <a:off x="6745332" y="707595"/>
          <a:ext cx="91440" cy="2010194"/>
        </a:xfrm>
        <a:custGeom>
          <a:avLst/>
          <a:gdLst/>
          <a:ahLst/>
          <a:cxnLst/>
          <a:rect l="0" t="0" r="0" b="0"/>
          <a:pathLst>
            <a:path>
              <a:moveTo>
                <a:pt x="45720" y="0"/>
              </a:moveTo>
              <a:lnTo>
                <a:pt x="45720" y="2010194"/>
              </a:lnTo>
              <a:lnTo>
                <a:pt x="135061" y="2010194"/>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CF6F526-FB38-FE4D-A494-4DFFD18DA82E}">
      <dsp:nvSpPr>
        <dsp:cNvPr id="0" name=""/>
        <dsp:cNvSpPr/>
      </dsp:nvSpPr>
      <dsp:spPr>
        <a:xfrm>
          <a:off x="6880394" y="2494434"/>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205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Testability</a:t>
          </a:r>
        </a:p>
      </dsp:txBody>
      <dsp:txXfrm>
        <a:off x="6893478" y="2507518"/>
        <a:ext cx="688567" cy="420541"/>
      </dsp:txXfrm>
    </dsp:sp>
    <dsp:sp modelId="{FC0FD8D0-996E-6443-9AFF-FC093786F2BB}">
      <dsp:nvSpPr>
        <dsp:cNvPr id="0" name=""/>
        <dsp:cNvSpPr/>
      </dsp:nvSpPr>
      <dsp:spPr>
        <a:xfrm>
          <a:off x="6745332" y="707595"/>
          <a:ext cx="91440" cy="2568581"/>
        </a:xfrm>
        <a:custGeom>
          <a:avLst/>
          <a:gdLst/>
          <a:ahLst/>
          <a:cxnLst/>
          <a:rect l="0" t="0" r="0" b="0"/>
          <a:pathLst>
            <a:path>
              <a:moveTo>
                <a:pt x="45720" y="0"/>
              </a:moveTo>
              <a:lnTo>
                <a:pt x="45720" y="2568581"/>
              </a:lnTo>
              <a:lnTo>
                <a:pt x="135061" y="2568581"/>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9AE7A8-612B-0545-961B-2FB089BD92F9}">
      <dsp:nvSpPr>
        <dsp:cNvPr id="0" name=""/>
        <dsp:cNvSpPr/>
      </dsp:nvSpPr>
      <dsp:spPr>
        <a:xfrm>
          <a:off x="6880394" y="3052822"/>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487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err="1"/>
            <a:t>Analyzab-ility</a:t>
          </a:r>
          <a:endParaRPr lang="en-US" sz="1000" b="1" kern="1200" dirty="0"/>
        </a:p>
      </dsp:txBody>
      <dsp:txXfrm>
        <a:off x="6893478" y="3065906"/>
        <a:ext cx="688567" cy="420541"/>
      </dsp:txXfrm>
    </dsp:sp>
    <dsp:sp modelId="{04A97591-A644-7A4E-A21C-0F455A246C0B}">
      <dsp:nvSpPr>
        <dsp:cNvPr id="0" name=""/>
        <dsp:cNvSpPr/>
      </dsp:nvSpPr>
      <dsp:spPr>
        <a:xfrm>
          <a:off x="7818484" y="260886"/>
          <a:ext cx="893419" cy="446709"/>
        </a:xfrm>
        <a:prstGeom prst="roundRect">
          <a:avLst>
            <a:gd name="adj" fmla="val 10000"/>
          </a:avLst>
        </a:prstGeom>
        <a:solidFill>
          <a:schemeClr val="accent4">
            <a:hueOff val="0"/>
            <a:satOff val="0"/>
            <a:lumOff val="733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Portability</a:t>
          </a:r>
        </a:p>
      </dsp:txBody>
      <dsp:txXfrm>
        <a:off x="7831568" y="273970"/>
        <a:ext cx="867251" cy="420541"/>
      </dsp:txXfrm>
    </dsp:sp>
    <dsp:sp modelId="{B575AD4C-A0B9-C546-951C-87B42CC951D5}">
      <dsp:nvSpPr>
        <dsp:cNvPr id="0" name=""/>
        <dsp:cNvSpPr/>
      </dsp:nvSpPr>
      <dsp:spPr>
        <a:xfrm>
          <a:off x="7862106"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314026A-2F78-F84E-8045-6675029EDD49}">
      <dsp:nvSpPr>
        <dsp:cNvPr id="0" name=""/>
        <dsp:cNvSpPr/>
      </dsp:nvSpPr>
      <dsp:spPr>
        <a:xfrm>
          <a:off x="7997168"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769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err="1"/>
            <a:t>Installability</a:t>
          </a:r>
          <a:endParaRPr lang="en-US" sz="1000" b="1" kern="1200" dirty="0"/>
        </a:p>
      </dsp:txBody>
      <dsp:txXfrm>
        <a:off x="8010252" y="832357"/>
        <a:ext cx="688567" cy="420541"/>
      </dsp:txXfrm>
    </dsp:sp>
    <dsp:sp modelId="{16E58DE1-A091-5548-8240-35067CD2D11F}">
      <dsp:nvSpPr>
        <dsp:cNvPr id="0" name=""/>
        <dsp:cNvSpPr/>
      </dsp:nvSpPr>
      <dsp:spPr>
        <a:xfrm>
          <a:off x="7862106"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FCCE37F-D0FD-4444-9D80-DBC41CEF80D2}">
      <dsp:nvSpPr>
        <dsp:cNvPr id="0" name=""/>
        <dsp:cNvSpPr/>
      </dsp:nvSpPr>
      <dsp:spPr>
        <a:xfrm>
          <a:off x="7997168"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7051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Replace-ability</a:t>
          </a:r>
        </a:p>
      </dsp:txBody>
      <dsp:txXfrm>
        <a:off x="8010252" y="1390744"/>
        <a:ext cx="688567" cy="420541"/>
      </dsp:txXfrm>
    </dsp:sp>
    <dsp:sp modelId="{7DDFF29B-2975-EF45-B31C-ECD72FD9ABF0}">
      <dsp:nvSpPr>
        <dsp:cNvPr id="0" name=""/>
        <dsp:cNvSpPr/>
      </dsp:nvSpPr>
      <dsp:spPr>
        <a:xfrm>
          <a:off x="7862106"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A801272-935B-9A41-A9D1-B14936F53555}">
      <dsp:nvSpPr>
        <dsp:cNvPr id="0" name=""/>
        <dsp:cNvSpPr/>
      </dsp:nvSpPr>
      <dsp:spPr>
        <a:xfrm>
          <a:off x="7997168"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7333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Adaptability</a:t>
          </a:r>
        </a:p>
      </dsp:txBody>
      <dsp:txXfrm>
        <a:off x="8010252" y="1949131"/>
        <a:ext cx="688567" cy="420541"/>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12/08/2021</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12/08/2021</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AU" dirty="0"/>
              <a:t>International standards for evaluation of software quality</a:t>
            </a:r>
          </a:p>
          <a:p>
            <a:pPr marL="171450" indent="-171450">
              <a:buFont typeface="Arial"/>
              <a:buChar char="•"/>
            </a:pPr>
            <a:r>
              <a:rPr lang="en-AU" dirty="0"/>
              <a:t>Blockchain has good and bad quality</a:t>
            </a: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solidFill>
                  <a:prstClr val="black"/>
                </a:solidFill>
              </a:rPr>
              <a:pPr/>
              <a:t>4</a:t>
            </a:fld>
            <a:endParaRPr lang="en-AU">
              <a:solidFill>
                <a:prstClr val="black"/>
              </a:solidFill>
            </a:endParaRPr>
          </a:p>
        </p:txBody>
      </p:sp>
    </p:spTree>
    <p:extLst>
      <p:ext uri="{BB962C8B-B14F-4D97-AF65-F5344CB8AC3E}">
        <p14:creationId xmlns:p14="http://schemas.microsoft.com/office/powerpoint/2010/main" val="3823286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36" b="0" i="0" u="none" strike="noStrike" kern="1200" dirty="0">
                <a:solidFill>
                  <a:schemeClr val="tx1"/>
                </a:solidFill>
                <a:effectLst/>
                <a:latin typeface="+mn-lt"/>
                <a:ea typeface="+mn-ea"/>
                <a:cs typeface="+mn-cs"/>
              </a:rPr>
              <a:t>10. </a:t>
            </a:r>
            <a:r>
              <a:rPr lang="en-AU" sz="936" b="0" i="0" u="none" strike="noStrike" kern="1200">
                <a:solidFill>
                  <a:schemeClr val="tx1"/>
                </a:solidFill>
                <a:effectLst/>
                <a:latin typeface="+mn-lt"/>
                <a:ea typeface="+mn-ea"/>
                <a:cs typeface="+mn-cs"/>
              </a:rPr>
              <a:t>Performance</a:t>
            </a:r>
            <a:endParaRPr lang="en-AU"/>
          </a:p>
        </p:txBody>
      </p:sp>
      <p:sp>
        <p:nvSpPr>
          <p:cNvPr id="4" name="Slide Number Placeholder 3"/>
          <p:cNvSpPr>
            <a:spLocks noGrp="1"/>
          </p:cNvSpPr>
          <p:nvPr>
            <p:ph type="sldNum" sz="quarter" idx="10"/>
          </p:nvPr>
        </p:nvSpPr>
        <p:spPr/>
        <p:txBody>
          <a:bodyPr/>
          <a:lstStyle/>
          <a:p>
            <a:fld id="{001C9F81-DB2C-42C9-B6F6-C5F374D31FE4}" type="slidenum">
              <a:rPr lang="en-AU" smtClean="0"/>
              <a:t>5</a:t>
            </a:fld>
            <a:endParaRPr lang="en-AU"/>
          </a:p>
        </p:txBody>
      </p:sp>
    </p:spTree>
    <p:extLst>
      <p:ext uri="{BB962C8B-B14F-4D97-AF65-F5344CB8AC3E}">
        <p14:creationId xmlns:p14="http://schemas.microsoft.com/office/powerpoint/2010/main" val="110010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1C9F81-DB2C-42C9-B6F6-C5F374D31FE4}" type="slidenum">
              <a:rPr lang="en-AU" smtClean="0"/>
              <a:t>13</a:t>
            </a:fld>
            <a:endParaRPr lang="en-AU" dirty="0"/>
          </a:p>
        </p:txBody>
      </p:sp>
    </p:spTree>
    <p:extLst>
      <p:ext uri="{BB962C8B-B14F-4D97-AF65-F5344CB8AC3E}">
        <p14:creationId xmlns:p14="http://schemas.microsoft.com/office/powerpoint/2010/main" val="37127126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dirty="0"/>
              <a:t>Even</a:t>
            </a:r>
            <a:r>
              <a:rPr lang="en-US" baseline="0" dirty="0"/>
              <a:t> though blockchain replace the need of trusted third party, the latency of blockchain can be a major drawback. </a:t>
            </a:r>
            <a:r>
              <a:rPr lang="en-US" sz="1100" kern="1200" dirty="0">
                <a:solidFill>
                  <a:schemeClr val="tx1"/>
                </a:solidFill>
                <a:effectLst/>
                <a:latin typeface="+mn-lt"/>
                <a:ea typeface="+mn-ea"/>
                <a:cs typeface="+mn-cs"/>
              </a:rPr>
              <a:t>In a blockchain using </a:t>
            </a:r>
            <a:r>
              <a:rPr lang="en-US" sz="1100" kern="1200" dirty="0" err="1">
                <a:solidFill>
                  <a:schemeClr val="tx1"/>
                </a:solidFill>
                <a:effectLst/>
                <a:latin typeface="+mn-lt"/>
                <a:ea typeface="+mn-ea"/>
                <a:cs typeface="+mn-cs"/>
              </a:rPr>
              <a:t>Nakamoto</a:t>
            </a:r>
            <a:r>
              <a:rPr lang="en-US" sz="1100" kern="1200" dirty="0">
                <a:solidFill>
                  <a:schemeClr val="tx1"/>
                </a:solidFill>
                <a:effectLst/>
                <a:latin typeface="+mn-lt"/>
                <a:ea typeface="+mn-ea"/>
                <a:cs typeface="+mn-cs"/>
              </a:rPr>
              <a:t> consensus, to confirm a transaction, it needs to be included in a block, which should be endorsed by dependent blocks, known as confirmation blocks. </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100" kern="1200" dirty="0">
                <a:solidFill>
                  <a:schemeClr val="tx1"/>
                </a:solidFill>
                <a:effectLst/>
                <a:latin typeface="+mn-lt"/>
                <a:ea typeface="+mn-ea"/>
                <a:cs typeface="+mn-cs"/>
              </a:rPr>
              <a:t>On Bitcoin the inter-block time is about 10 minutes and 6 confirmation blocks are often used while on the public </a:t>
            </a:r>
            <a:r>
              <a:rPr lang="en-US" sz="1100" kern="1200" dirty="0" err="1">
                <a:solidFill>
                  <a:schemeClr val="tx1"/>
                </a:solidFill>
                <a:effectLst/>
                <a:latin typeface="+mn-lt"/>
                <a:ea typeface="+mn-ea"/>
                <a:cs typeface="+mn-cs"/>
              </a:rPr>
              <a:t>Ethereum</a:t>
            </a:r>
            <a:r>
              <a:rPr lang="en-US" sz="1100" kern="1200" dirty="0">
                <a:solidFill>
                  <a:schemeClr val="tx1"/>
                </a:solidFill>
                <a:effectLst/>
                <a:latin typeface="+mn-lt"/>
                <a:ea typeface="+mn-ea"/>
                <a:cs typeface="+mn-cs"/>
              </a:rPr>
              <a:t> blockchain the average block generation time is about 15s</a:t>
            </a:r>
            <a:r>
              <a:rPr lang="en-US" sz="1100" kern="1200" baseline="0" dirty="0">
                <a:solidFill>
                  <a:schemeClr val="tx1"/>
                </a:solidFill>
                <a:effectLst/>
                <a:latin typeface="+mn-lt"/>
                <a:ea typeface="+mn-ea"/>
                <a:cs typeface="+mn-cs"/>
              </a:rPr>
              <a:t> </a:t>
            </a:r>
            <a:r>
              <a:rPr lang="en-US" sz="1100" kern="1200" dirty="0">
                <a:solidFill>
                  <a:schemeClr val="tx1"/>
                </a:solidFill>
                <a:effectLst/>
                <a:latin typeface="+mn-lt"/>
                <a:ea typeface="+mn-ea"/>
                <a:cs typeface="+mn-cs"/>
              </a:rPr>
              <a:t>and 12 confirmation blocks are typically recommended. As you can see, the latency</a:t>
            </a:r>
            <a:r>
              <a:rPr lang="en-US" sz="1100" kern="1200" baseline="0" dirty="0">
                <a:solidFill>
                  <a:schemeClr val="tx1"/>
                </a:solidFill>
                <a:effectLst/>
                <a:latin typeface="+mn-lt"/>
                <a:ea typeface="+mn-ea"/>
                <a:cs typeface="+mn-cs"/>
              </a:rPr>
              <a:t> incur to the system will be high in magnitudes. </a:t>
            </a:r>
          </a:p>
          <a:p>
            <a:pPr marL="171450" indent="-171450">
              <a:buFont typeface="Arial" charset="0"/>
              <a:buChar char="•"/>
            </a:pPr>
            <a:r>
              <a:rPr lang="en-US" sz="1100" kern="1200" baseline="0" dirty="0">
                <a:solidFill>
                  <a:schemeClr val="tx1"/>
                </a:solidFill>
                <a:effectLst/>
                <a:latin typeface="+mn-lt"/>
                <a:ea typeface="+mn-ea"/>
                <a:cs typeface="+mn-cs"/>
              </a:rPr>
              <a:t>Additionally, </a:t>
            </a:r>
            <a:r>
              <a:rPr lang="en-US" sz="1100" kern="1200" dirty="0">
                <a:solidFill>
                  <a:schemeClr val="tx1"/>
                </a:solidFill>
                <a:effectLst/>
                <a:latin typeface="+mn-lt"/>
                <a:ea typeface="+mn-ea"/>
                <a:cs typeface="+mn-cs"/>
              </a:rPr>
              <a:t>Transaction delays can also arise from network delays, the transaction fee offered, the number of transactions being processed, and the strategic decisions made by miners. So, transaction inclusion times can vary widely. </a:t>
            </a:r>
            <a:endParaRPr lang="en-US" dirty="0"/>
          </a:p>
          <a:p>
            <a:pPr marL="171450" indent="-171450">
              <a:buFont typeface="Arial" charset="0"/>
              <a:buChar char="•"/>
            </a:pPr>
            <a:r>
              <a:rPr lang="en-US" sz="1100" kern="1200" dirty="0">
                <a:solidFill>
                  <a:schemeClr val="tx1"/>
                </a:solidFill>
                <a:effectLst/>
                <a:latin typeface="+mn-lt"/>
                <a:ea typeface="+mn-ea"/>
                <a:cs typeface="+mn-cs"/>
              </a:rPr>
              <a:t>Although longer than in conventional systems, these transaction latencies may be acceptable for some use cases. it will still be important to be able to accurately predict system-level latency during the design phase, to assess the impact of this limitation on system requirements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4598509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1C9F81-DB2C-42C9-B6F6-C5F374D31FE4}" type="slidenum">
              <a:rPr lang="en-AU" smtClean="0"/>
              <a:t>19</a:t>
            </a:fld>
            <a:endParaRPr lang="en-AU" dirty="0"/>
          </a:p>
        </p:txBody>
      </p:sp>
    </p:spTree>
    <p:extLst>
      <p:ext uri="{BB962C8B-B14F-4D97-AF65-F5344CB8AC3E}">
        <p14:creationId xmlns:p14="http://schemas.microsoft.com/office/powerpoint/2010/main" val="35016985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22</a:t>
            </a:fld>
            <a:endParaRPr lang="en-AU" dirty="0"/>
          </a:p>
        </p:txBody>
      </p:sp>
    </p:spTree>
    <p:extLst>
      <p:ext uri="{BB962C8B-B14F-4D97-AF65-F5344CB8AC3E}">
        <p14:creationId xmlns:p14="http://schemas.microsoft.com/office/powerpoint/2010/main" val="42262009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de-DE" dirty="0"/>
              <a:t>Mastertitelformat bearbeiten</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8726327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de-DE" dirty="0"/>
              <a:t>Mastertitelformat bearbeiten</a:t>
            </a:r>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r>
              <a:rPr lang="de-DE" altLang="de-DE"/>
              <a:t> </a:t>
            </a:r>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7593686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13777110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866698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5374989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ata61 Divider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E9022-4E91-4AE1-9B32-52DF7FA0F1BB}"/>
              </a:ext>
            </a:extLst>
          </p:cNvPr>
          <p:cNvSpPr>
            <a:spLocks noGrp="1"/>
          </p:cNvSpPr>
          <p:nvPr>
            <p:ph type="ctrTitle" hasCustomPrompt="1"/>
          </p:nvPr>
        </p:nvSpPr>
        <p:spPr>
          <a:xfrm>
            <a:off x="658669" y="2532263"/>
            <a:ext cx="5052378" cy="1486036"/>
          </a:xfrm>
          <a:prstGeom prst="rect">
            <a:avLst/>
          </a:prstGeom>
        </p:spPr>
        <p:txBody>
          <a:bodyPr anchor="t">
            <a:normAutofit/>
          </a:bodyPr>
          <a:lstStyle>
            <a:lvl1pPr algn="l">
              <a:defRPr sz="3600"/>
            </a:lvl1pPr>
          </a:lstStyle>
          <a:p>
            <a:r>
              <a:rPr lang="en-US" dirty="0"/>
              <a:t>Divider Title </a:t>
            </a:r>
            <a:endParaRPr lang="en-AU" dirty="0"/>
          </a:p>
        </p:txBody>
      </p:sp>
      <p:sp>
        <p:nvSpPr>
          <p:cNvPr id="10" name="Rechteck 9">
            <a:extLst>
              <a:ext uri="{FF2B5EF4-FFF2-40B4-BE49-F238E27FC236}">
                <a16:creationId xmlns:a16="http://schemas.microsoft.com/office/drawing/2014/main" id="{1672F628-EE80-4E51-B88E-558820590E23}"/>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4" name="Line 8">
            <a:extLst>
              <a:ext uri="{FF2B5EF4-FFF2-40B4-BE49-F238E27FC236}">
                <a16:creationId xmlns:a16="http://schemas.microsoft.com/office/drawing/2014/main" id="{3EDBF35F-9A23-45C4-A334-ECDC5ACAE03E}"/>
              </a:ext>
            </a:extLst>
          </p:cNvPr>
          <p:cNvSpPr>
            <a:spLocks noChangeShapeType="1"/>
          </p:cNvSpPr>
          <p:nvPr userDrawn="1">
            <p:custDataLst>
              <p:tags r:id="rId1"/>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Tree>
    <p:extLst>
      <p:ext uri="{BB962C8B-B14F-4D97-AF65-F5344CB8AC3E}">
        <p14:creationId xmlns:p14="http://schemas.microsoft.com/office/powerpoint/2010/main" val="553664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de-DE" dirty="0"/>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10"/>
          </p:nvPr>
        </p:nvSpPr>
        <p:spPr/>
        <p:txBody>
          <a:bodyPr/>
          <a:lstStyle/>
          <a:p>
            <a:fld id="{92C9502F-080B-434D-B6E6-152AABCB560F}"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5168610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de-DE"/>
              <a:t>Mastertitelformat bearbeiten</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31F62470-86A5-4195-80DB-B5C3FDDF80F3}"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4201219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9D2726B2-D786-49F1-B99A-EF1C103B31C0}" type="datetime5">
              <a:rPr lang="en-US" smtClean="0"/>
              <a:t>12-Aug-21</a:t>
            </a:fld>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692417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de-DE"/>
              <a:t>Mastertitelformat bearbeiten</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629842" y="2087563"/>
            <a:ext cx="3868340"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Content Placeholder 5"/>
          <p:cNvSpPr>
            <a:spLocks noGrp="1"/>
          </p:cNvSpPr>
          <p:nvPr>
            <p:ph sz="quarter" idx="4"/>
          </p:nvPr>
        </p:nvSpPr>
        <p:spPr>
          <a:xfrm>
            <a:off x="4629150" y="2087563"/>
            <a:ext cx="3887391"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EF512EB0-E6BF-41F8-B6E1-CFC97764D9CE}" type="datetime5">
              <a:rPr lang="en-US" smtClean="0"/>
              <a:t>12-Aug-21</a:t>
            </a:fld>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915183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astertitelformat bearbeiten</a:t>
            </a:r>
            <a:endParaRPr lang="en-US" dirty="0"/>
          </a:p>
        </p:txBody>
      </p:sp>
      <p:sp>
        <p:nvSpPr>
          <p:cNvPr id="3" name="Date Placeholder 2"/>
          <p:cNvSpPr>
            <a:spLocks noGrp="1"/>
          </p:cNvSpPr>
          <p:nvPr>
            <p:ph type="dt" sz="half" idx="10"/>
          </p:nvPr>
        </p:nvSpPr>
        <p:spPr/>
        <p:txBody>
          <a:bodyPr/>
          <a:lstStyle/>
          <a:p>
            <a:fld id="{543FFAA5-3BFD-4C96-B21F-6F845E82C84D}" type="datetime5">
              <a:rPr lang="en-US" smtClean="0"/>
              <a:t>12-Aug-21</a:t>
            </a:fld>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3946452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F8FFE0-C8CD-42A1-8DD9-C76BA052DCA5}" type="datetime5">
              <a:rPr lang="en-US" smtClean="0"/>
              <a:t>12-Aug-21</a:t>
            </a:fld>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5361279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en-AU"/>
              <a:t> </a:t>
            </a:r>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731455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fld id="{CDB04BBE-FDA9-44A1-8AD3-8FE5383857F3}" type="datetime5">
              <a:rPr lang="en-US" smtClean="0"/>
              <a:t>12-Aug-21</a:t>
            </a:fld>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r>
              <a:rPr lang="de-DE" altLang="de-DE"/>
              <a:t> </a:t>
            </a:r>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a:ex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497617331"/>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Lst>
  <p:hf hdr="0" ftr="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hyperlink" Target="https://ethstats.net/"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https://arxiv.org/abs/1402.2009" TargetMode="External"/><Relationship Id="rId2" Type="http://schemas.openxmlformats.org/officeDocument/2006/relationships/image" Target="../media/image11.png"/><Relationship Id="rId1" Type="http://schemas.openxmlformats.org/officeDocument/2006/relationships/slideLayout" Target="../slideLayouts/slideLayout11.xml"/><Relationship Id="rId4" Type="http://schemas.openxmlformats.org/officeDocument/2006/relationships/image" Target="../media/image12.png"/></Relationships>
</file>

<file path=ppt/slides/_rels/slide1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3.png"/><Relationship Id="rId7"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hyperlink" Target="https://arxiv.org/abs/1402.2009" TargetMode="External"/><Relationship Id="rId5" Type="http://schemas.openxmlformats.org/officeDocument/2006/relationships/image" Target="../media/image11.png"/><Relationship Id="rId4" Type="http://schemas.openxmlformats.org/officeDocument/2006/relationships/hyperlink" Target="https://research.csiro.au/data61/wp-content/uploads/sites/85/2016/08/OnAvailabilityForBlockchain-BasedSystems-SRDS2017-authors-copy.pdf"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hyperlink" Target="https://www.cse.unsw.edu.au/~gernot/benchmarking-crimes.html" TargetMode="Externa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Performance 1: </a:t>
            </a:r>
            <a:br>
              <a:rPr lang="en-AU" sz="3200" dirty="0"/>
            </a:br>
            <a:r>
              <a:rPr lang="en-AU" sz="3200" dirty="0"/>
              <a:t>Overview &amp; Latency</a:t>
            </a:r>
            <a:endParaRPr lang="en-AU" sz="3000" noProof="0" dirty="0"/>
          </a:p>
        </p:txBody>
      </p:sp>
      <p:sp>
        <p:nvSpPr>
          <p:cNvPr id="7" name="Rectangle 3">
            <a:extLst>
              <a:ext uri="{FF2B5EF4-FFF2-40B4-BE49-F238E27FC236}">
                <a16:creationId xmlns:a16="http://schemas.microsoft.com/office/drawing/2014/main" id="{5360F4B4-400E-4AE4-B406-8D8CF5215EC1}"/>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AU" dirty="0"/>
              <a:t>Latency</a:t>
            </a:r>
          </a:p>
        </p:txBody>
      </p:sp>
    </p:spTree>
    <p:extLst>
      <p:ext uri="{BB962C8B-B14F-4D97-AF65-F5344CB8AC3E}">
        <p14:creationId xmlns:p14="http://schemas.microsoft.com/office/powerpoint/2010/main" val="2608203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p:cNvCxnSpPr>
            <a:stCxn id="21" idx="2"/>
            <a:endCxn id="15" idx="0"/>
          </p:cNvCxnSpPr>
          <p:nvPr/>
        </p:nvCxnSpPr>
        <p:spPr>
          <a:xfrm flipH="1">
            <a:off x="4023484" y="3024664"/>
            <a:ext cx="515" cy="82685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8" idx="4"/>
            <a:endCxn id="14" idx="0"/>
          </p:cNvCxnSpPr>
          <p:nvPr/>
        </p:nvCxnSpPr>
        <p:spPr>
          <a:xfrm flipH="1">
            <a:off x="2354293" y="2879882"/>
            <a:ext cx="3606" cy="971632"/>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0" idx="2"/>
            <a:endCxn id="18" idx="0"/>
          </p:cNvCxnSpPr>
          <p:nvPr/>
        </p:nvCxnSpPr>
        <p:spPr>
          <a:xfrm flipH="1">
            <a:off x="7286972" y="3027401"/>
            <a:ext cx="1" cy="824113"/>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3" idx="2"/>
            <a:endCxn id="29" idx="0"/>
          </p:cNvCxnSpPr>
          <p:nvPr/>
        </p:nvCxnSpPr>
        <p:spPr>
          <a:xfrm flipH="1">
            <a:off x="1305824" y="2457594"/>
            <a:ext cx="17680" cy="139392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3760986" y="2505491"/>
            <a:ext cx="526026" cy="519173"/>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648000" y="304551"/>
            <a:ext cx="7920000" cy="648000"/>
          </a:xfrm>
        </p:spPr>
        <p:txBody>
          <a:bodyPr>
            <a:noAutofit/>
          </a:bodyPr>
          <a:lstStyle/>
          <a:p>
            <a:r>
              <a:rPr lang="en-AU" sz="2800" dirty="0"/>
              <a:t>Transaction Inclusion Time in Public Blockchain…</a:t>
            </a:r>
          </a:p>
        </p:txBody>
      </p:sp>
      <p:sp>
        <p:nvSpPr>
          <p:cNvPr id="4" name="Foliennummernplatzhalter 3">
            <a:extLst>
              <a:ext uri="{FF2B5EF4-FFF2-40B4-BE49-F238E27FC236}">
                <a16:creationId xmlns:a16="http://schemas.microsoft.com/office/drawing/2014/main" id="{E8F2BB0E-8A58-4410-9D3D-80B39E350236}"/>
              </a:ext>
            </a:extLst>
          </p:cNvPr>
          <p:cNvSpPr>
            <a:spLocks noGrp="1"/>
          </p:cNvSpPr>
          <p:nvPr>
            <p:ph type="sldNum" sz="quarter" idx="4"/>
          </p:nvPr>
        </p:nvSpPr>
        <p:spPr/>
        <p:txBody>
          <a:bodyPr/>
          <a:lstStyle/>
          <a:p>
            <a:fld id="{97F98C0B-273E-428A-ABCF-EBED2BA25188}" type="slidenum">
              <a:rPr lang="en-US" smtClean="0"/>
              <a:t>11</a:t>
            </a:fld>
            <a:endParaRPr lang="en-US"/>
          </a:p>
        </p:txBody>
      </p:sp>
      <p:cxnSp>
        <p:nvCxnSpPr>
          <p:cNvPr id="7" name="Straight Connector 6"/>
          <p:cNvCxnSpPr/>
          <p:nvPr/>
        </p:nvCxnSpPr>
        <p:spPr>
          <a:xfrm>
            <a:off x="983226" y="3180515"/>
            <a:ext cx="6951406" cy="0"/>
          </a:xfrm>
          <a:prstGeom prst="line">
            <a:avLst/>
          </a:prstGeom>
          <a:ln w="762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Oval 7"/>
          <p:cNvSpPr/>
          <p:nvPr/>
        </p:nvSpPr>
        <p:spPr>
          <a:xfrm>
            <a:off x="2225163" y="2614411"/>
            <a:ext cx="265471" cy="26547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p:cNvSpPr/>
          <p:nvPr/>
        </p:nvSpPr>
        <p:spPr>
          <a:xfrm>
            <a:off x="3755920" y="1938421"/>
            <a:ext cx="526026" cy="5191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Isosceles Triangle 10"/>
          <p:cNvSpPr/>
          <p:nvPr/>
        </p:nvSpPr>
        <p:spPr>
          <a:xfrm>
            <a:off x="1186310" y="3250126"/>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Oval 12"/>
          <p:cNvSpPr/>
          <p:nvPr/>
        </p:nvSpPr>
        <p:spPr>
          <a:xfrm>
            <a:off x="3878336" y="2614412"/>
            <a:ext cx="265471" cy="26547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TextBox 13"/>
          <p:cNvSpPr txBox="1"/>
          <p:nvPr/>
        </p:nvSpPr>
        <p:spPr>
          <a:xfrm>
            <a:off x="1949940" y="3851514"/>
            <a:ext cx="808705" cy="524503"/>
          </a:xfrm>
          <a:prstGeom prst="rect">
            <a:avLst/>
          </a:prstGeom>
          <a:noFill/>
        </p:spPr>
        <p:txBody>
          <a:bodyPr wrap="square" rtlCol="0">
            <a:spAutoFit/>
          </a:bodyPr>
          <a:lstStyle/>
          <a:p>
            <a:pPr algn="ctr"/>
            <a:r>
              <a:rPr lang="en-AU" dirty="0"/>
              <a:t>t1</a:t>
            </a:r>
          </a:p>
          <a:p>
            <a:pPr algn="ctr"/>
            <a:r>
              <a:rPr lang="en-AU" dirty="0"/>
              <a:t>Tx sent</a:t>
            </a:r>
          </a:p>
        </p:txBody>
      </p:sp>
      <p:sp>
        <p:nvSpPr>
          <p:cNvPr id="15" name="TextBox 14"/>
          <p:cNvSpPr txBox="1"/>
          <p:nvPr/>
        </p:nvSpPr>
        <p:spPr>
          <a:xfrm>
            <a:off x="3075592" y="3851514"/>
            <a:ext cx="1895784" cy="740587"/>
          </a:xfrm>
          <a:prstGeom prst="rect">
            <a:avLst/>
          </a:prstGeom>
          <a:noFill/>
        </p:spPr>
        <p:txBody>
          <a:bodyPr wrap="square" rtlCol="0">
            <a:spAutoFit/>
          </a:bodyPr>
          <a:lstStyle/>
          <a:p>
            <a:pPr algn="ctr"/>
            <a:r>
              <a:rPr lang="en-AU" dirty="0"/>
              <a:t>t2</a:t>
            </a:r>
          </a:p>
          <a:p>
            <a:pPr algn="ctr"/>
            <a:r>
              <a:rPr lang="en-AU" dirty="0"/>
              <a:t>miner includes Tx in candidate block</a:t>
            </a:r>
          </a:p>
        </p:txBody>
      </p:sp>
      <p:sp>
        <p:nvSpPr>
          <p:cNvPr id="17" name="TextBox 16"/>
          <p:cNvSpPr txBox="1"/>
          <p:nvPr/>
        </p:nvSpPr>
        <p:spPr>
          <a:xfrm>
            <a:off x="4749008" y="4986963"/>
            <a:ext cx="1627239" cy="308418"/>
          </a:xfrm>
          <a:prstGeom prst="rect">
            <a:avLst/>
          </a:prstGeom>
          <a:noFill/>
        </p:spPr>
        <p:txBody>
          <a:bodyPr wrap="square" rtlCol="0">
            <a:spAutoFit/>
          </a:bodyPr>
          <a:lstStyle/>
          <a:p>
            <a:pPr algn="ctr"/>
            <a:r>
              <a:rPr lang="en-AU" i="1" dirty="0" err="1"/>
              <a:t>interblock</a:t>
            </a:r>
            <a:r>
              <a:rPr lang="en-AU" i="1" dirty="0"/>
              <a:t> time</a:t>
            </a:r>
          </a:p>
        </p:txBody>
      </p:sp>
      <p:sp>
        <p:nvSpPr>
          <p:cNvPr id="18" name="TextBox 17"/>
          <p:cNvSpPr txBox="1"/>
          <p:nvPr/>
        </p:nvSpPr>
        <p:spPr>
          <a:xfrm>
            <a:off x="6173469" y="3851514"/>
            <a:ext cx="2227006" cy="740587"/>
          </a:xfrm>
          <a:prstGeom prst="rect">
            <a:avLst/>
          </a:prstGeom>
          <a:noFill/>
        </p:spPr>
        <p:txBody>
          <a:bodyPr wrap="square" rtlCol="0">
            <a:spAutoFit/>
          </a:bodyPr>
          <a:lstStyle/>
          <a:p>
            <a:pPr algn="ctr"/>
            <a:r>
              <a:rPr lang="en-AU" dirty="0"/>
              <a:t>t3</a:t>
            </a:r>
          </a:p>
          <a:p>
            <a:pPr algn="ctr"/>
            <a:r>
              <a:rPr lang="en-AU" dirty="0"/>
              <a:t>Tx is observed in new mined block</a:t>
            </a:r>
          </a:p>
        </p:txBody>
      </p:sp>
      <p:sp>
        <p:nvSpPr>
          <p:cNvPr id="19" name="TextBox 18"/>
          <p:cNvSpPr txBox="1"/>
          <p:nvPr/>
        </p:nvSpPr>
        <p:spPr>
          <a:xfrm>
            <a:off x="2084841" y="4986963"/>
            <a:ext cx="2191366" cy="308418"/>
          </a:xfrm>
          <a:prstGeom prst="rect">
            <a:avLst/>
          </a:prstGeom>
          <a:noFill/>
        </p:spPr>
        <p:txBody>
          <a:bodyPr wrap="square" rtlCol="0">
            <a:spAutoFit/>
          </a:bodyPr>
          <a:lstStyle/>
          <a:p>
            <a:pPr algn="ctr"/>
            <a:r>
              <a:rPr lang="en-AU" i="1" dirty="0" err="1"/>
              <a:t>interblock</a:t>
            </a:r>
            <a:r>
              <a:rPr lang="en-AU" i="1" dirty="0"/>
              <a:t> time / 2</a:t>
            </a:r>
          </a:p>
        </p:txBody>
      </p:sp>
      <p:sp>
        <p:nvSpPr>
          <p:cNvPr id="20" name="Rectangle 19"/>
          <p:cNvSpPr/>
          <p:nvPr/>
        </p:nvSpPr>
        <p:spPr>
          <a:xfrm>
            <a:off x="7023960" y="2508228"/>
            <a:ext cx="526026" cy="5191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Oval 21"/>
          <p:cNvSpPr/>
          <p:nvPr/>
        </p:nvSpPr>
        <p:spPr>
          <a:xfrm>
            <a:off x="7154237" y="2648566"/>
            <a:ext cx="265471" cy="26547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Rectangle 22"/>
          <p:cNvSpPr/>
          <p:nvPr/>
        </p:nvSpPr>
        <p:spPr>
          <a:xfrm>
            <a:off x="1060491" y="1938421"/>
            <a:ext cx="526026" cy="519173"/>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Isosceles Triangle 23"/>
          <p:cNvSpPr/>
          <p:nvPr/>
        </p:nvSpPr>
        <p:spPr>
          <a:xfrm>
            <a:off x="2230079" y="3250126"/>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Isosceles Triangle 25"/>
          <p:cNvSpPr/>
          <p:nvPr/>
        </p:nvSpPr>
        <p:spPr>
          <a:xfrm>
            <a:off x="3891116" y="3256686"/>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TextBox 28"/>
          <p:cNvSpPr txBox="1"/>
          <p:nvPr/>
        </p:nvSpPr>
        <p:spPr>
          <a:xfrm>
            <a:off x="640176" y="3851514"/>
            <a:ext cx="1331296" cy="956672"/>
          </a:xfrm>
          <a:prstGeom prst="rect">
            <a:avLst/>
          </a:prstGeom>
          <a:noFill/>
        </p:spPr>
        <p:txBody>
          <a:bodyPr wrap="square" rtlCol="0">
            <a:spAutoFit/>
          </a:bodyPr>
          <a:lstStyle/>
          <a:p>
            <a:pPr algn="ctr"/>
            <a:r>
              <a:rPr lang="en-AU" dirty="0"/>
              <a:t>t0</a:t>
            </a:r>
            <a:br>
              <a:rPr lang="en-AU" dirty="0"/>
            </a:br>
            <a:r>
              <a:rPr lang="en-AU" dirty="0"/>
              <a:t>start mining on previous candidate block</a:t>
            </a:r>
          </a:p>
        </p:txBody>
      </p:sp>
      <p:sp>
        <p:nvSpPr>
          <p:cNvPr id="3" name="Smiley Face 2"/>
          <p:cNvSpPr/>
          <p:nvPr/>
        </p:nvSpPr>
        <p:spPr>
          <a:xfrm>
            <a:off x="2139687" y="1362588"/>
            <a:ext cx="441338" cy="441338"/>
          </a:xfrm>
          <a:prstGeom prst="smileyFace">
            <a:avLst/>
          </a:prstGeom>
          <a:solidFill>
            <a:srgbClr val="FFFF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a:p>
        </p:txBody>
      </p:sp>
      <p:sp>
        <p:nvSpPr>
          <p:cNvPr id="30" name="Smiley Face 29"/>
          <p:cNvSpPr/>
          <p:nvPr/>
        </p:nvSpPr>
        <p:spPr>
          <a:xfrm>
            <a:off x="7068554" y="1294447"/>
            <a:ext cx="441338" cy="441338"/>
          </a:xfrm>
          <a:prstGeom prst="smileyFace">
            <a:avLst/>
          </a:prstGeom>
          <a:solidFill>
            <a:srgbClr val="FFC0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a:p>
        </p:txBody>
      </p:sp>
      <p:cxnSp>
        <p:nvCxnSpPr>
          <p:cNvPr id="5" name="Straight Arrow Connector 4"/>
          <p:cNvCxnSpPr>
            <a:stCxn id="3" idx="4"/>
            <a:endCxn id="8" idx="0"/>
          </p:cNvCxnSpPr>
          <p:nvPr/>
        </p:nvCxnSpPr>
        <p:spPr>
          <a:xfrm flipH="1">
            <a:off x="2357899" y="1803926"/>
            <a:ext cx="2457" cy="810485"/>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1" name="Isosceles Triangle 30"/>
          <p:cNvSpPr/>
          <p:nvPr/>
        </p:nvSpPr>
        <p:spPr>
          <a:xfrm>
            <a:off x="7159153" y="3256685"/>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32" name="Straight Arrow Connector 31"/>
          <p:cNvCxnSpPr>
            <a:stCxn id="20" idx="0"/>
            <a:endCxn id="30" idx="4"/>
          </p:cNvCxnSpPr>
          <p:nvPr/>
        </p:nvCxnSpPr>
        <p:spPr>
          <a:xfrm flipV="1">
            <a:off x="7286973" y="1735785"/>
            <a:ext cx="2250" cy="772443"/>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6" name="Left Brace 65"/>
          <p:cNvSpPr/>
          <p:nvPr/>
        </p:nvSpPr>
        <p:spPr>
          <a:xfrm rot="16200000">
            <a:off x="3104653" y="4091988"/>
            <a:ext cx="175098" cy="1653467"/>
          </a:xfrm>
          <a:prstGeom prst="leftBrace">
            <a:avLst>
              <a:gd name="adj1" fmla="val 3055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67" name="Left Brace 66"/>
          <p:cNvSpPr/>
          <p:nvPr/>
        </p:nvSpPr>
        <p:spPr>
          <a:xfrm rot="16200000">
            <a:off x="5550487" y="3300222"/>
            <a:ext cx="175098" cy="3238203"/>
          </a:xfrm>
          <a:prstGeom prst="leftBrace">
            <a:avLst>
              <a:gd name="adj1" fmla="val 34259"/>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72" name="TextBox 71"/>
          <p:cNvSpPr txBox="1"/>
          <p:nvPr/>
        </p:nvSpPr>
        <p:spPr>
          <a:xfrm>
            <a:off x="4196966" y="4986963"/>
            <a:ext cx="359868" cy="308418"/>
          </a:xfrm>
          <a:prstGeom prst="rect">
            <a:avLst/>
          </a:prstGeom>
          <a:noFill/>
        </p:spPr>
        <p:txBody>
          <a:bodyPr wrap="square" rtlCol="0">
            <a:spAutoFit/>
          </a:bodyPr>
          <a:lstStyle/>
          <a:p>
            <a:pPr algn="ctr"/>
            <a:r>
              <a:rPr lang="en-AU" i="1" dirty="0"/>
              <a:t>+</a:t>
            </a:r>
          </a:p>
        </p:txBody>
      </p:sp>
      <p:sp>
        <p:nvSpPr>
          <p:cNvPr id="73" name="TextBox 72"/>
          <p:cNvSpPr txBox="1"/>
          <p:nvPr/>
        </p:nvSpPr>
        <p:spPr>
          <a:xfrm>
            <a:off x="39841" y="2972766"/>
            <a:ext cx="1002970" cy="430887"/>
          </a:xfrm>
          <a:prstGeom prst="rect">
            <a:avLst/>
          </a:prstGeom>
          <a:noFill/>
        </p:spPr>
        <p:txBody>
          <a:bodyPr wrap="square" rtlCol="0">
            <a:spAutoFit/>
          </a:bodyPr>
          <a:lstStyle/>
          <a:p>
            <a:r>
              <a:rPr lang="en-AU" sz="1100" i="1" dirty="0"/>
              <a:t>Timeline</a:t>
            </a:r>
          </a:p>
          <a:p>
            <a:r>
              <a:rPr lang="en-AU" sz="1100" i="1" dirty="0"/>
              <a:t>(not to scale)</a:t>
            </a:r>
          </a:p>
        </p:txBody>
      </p:sp>
      <p:cxnSp>
        <p:nvCxnSpPr>
          <p:cNvPr id="6" name="Straight Arrow Connector 5"/>
          <p:cNvCxnSpPr>
            <a:stCxn id="23" idx="3"/>
            <a:endCxn id="9" idx="1"/>
          </p:cNvCxnSpPr>
          <p:nvPr/>
        </p:nvCxnSpPr>
        <p:spPr>
          <a:xfrm>
            <a:off x="1586517" y="2198008"/>
            <a:ext cx="2169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21" idx="3"/>
            <a:endCxn id="20" idx="1"/>
          </p:cNvCxnSpPr>
          <p:nvPr/>
        </p:nvCxnSpPr>
        <p:spPr>
          <a:xfrm>
            <a:off x="4287012" y="2765078"/>
            <a:ext cx="2736948" cy="27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2844640" y="1984819"/>
            <a:ext cx="574196" cy="261610"/>
          </a:xfrm>
          <a:prstGeom prst="rect">
            <a:avLst/>
          </a:prstGeom>
          <a:noFill/>
        </p:spPr>
        <p:txBody>
          <a:bodyPr wrap="none" rtlCol="0">
            <a:spAutoFit/>
          </a:bodyPr>
          <a:lstStyle/>
          <a:p>
            <a:r>
              <a:rPr lang="en-AU" sz="1100" i="1" dirty="0"/>
              <a:t>mining</a:t>
            </a:r>
          </a:p>
        </p:txBody>
      </p:sp>
      <p:sp>
        <p:nvSpPr>
          <p:cNvPr id="38" name="TextBox 37"/>
          <p:cNvSpPr txBox="1"/>
          <p:nvPr/>
        </p:nvSpPr>
        <p:spPr>
          <a:xfrm>
            <a:off x="5919560" y="2547772"/>
            <a:ext cx="574196" cy="261610"/>
          </a:xfrm>
          <a:prstGeom prst="rect">
            <a:avLst/>
          </a:prstGeom>
          <a:noFill/>
        </p:spPr>
        <p:txBody>
          <a:bodyPr wrap="none" rtlCol="0">
            <a:spAutoFit/>
          </a:bodyPr>
          <a:lstStyle/>
          <a:p>
            <a:r>
              <a:rPr lang="en-AU" sz="1100" i="1" dirty="0"/>
              <a:t>mining</a:t>
            </a:r>
          </a:p>
        </p:txBody>
      </p:sp>
    </p:spTree>
    <p:extLst>
      <p:ext uri="{BB962C8B-B14F-4D97-AF65-F5344CB8AC3E}">
        <p14:creationId xmlns:p14="http://schemas.microsoft.com/office/powerpoint/2010/main" val="1575854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14" grpId="0"/>
      <p:bldP spid="15" grpId="0"/>
      <p:bldP spid="17" grpId="0"/>
      <p:bldP spid="18" grpId="0"/>
      <p:bldP spid="19" grpId="0"/>
      <p:bldP spid="22" grpId="0" animBg="1"/>
      <p:bldP spid="24" grpId="0" animBg="1"/>
      <p:bldP spid="3" grpId="0" animBg="1"/>
      <p:bldP spid="30" grpId="0" animBg="1"/>
      <p:bldP spid="66" grpId="0" animBg="1"/>
      <p:bldP spid="67" grpId="0" animBg="1"/>
      <p:bldP spid="7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How long does it take to get a transaction committed in Bitcoin?</a:t>
            </a:r>
          </a:p>
          <a:p>
            <a:pPr lvl="1"/>
            <a:r>
              <a:rPr lang="en-US" dirty="0"/>
              <a:t>Assume 10 minutes </a:t>
            </a:r>
            <a:r>
              <a:rPr lang="en-US" dirty="0" err="1"/>
              <a:t>interblock</a:t>
            </a:r>
            <a:r>
              <a:rPr lang="en-US" dirty="0"/>
              <a:t> time and 6 confirmations</a:t>
            </a:r>
          </a:p>
          <a:p>
            <a:endParaRPr lang="en-US" dirty="0"/>
          </a:p>
        </p:txBody>
      </p:sp>
      <p:sp>
        <p:nvSpPr>
          <p:cNvPr id="3" name="Foliennummernplatzhalter 2">
            <a:extLst>
              <a:ext uri="{FF2B5EF4-FFF2-40B4-BE49-F238E27FC236}">
                <a16:creationId xmlns:a16="http://schemas.microsoft.com/office/drawing/2014/main" id="{CD9D8260-3E52-4FF4-90D9-23D75F93CD34}"/>
              </a:ext>
            </a:extLst>
          </p:cNvPr>
          <p:cNvSpPr>
            <a:spLocks noGrp="1"/>
          </p:cNvSpPr>
          <p:nvPr>
            <p:ph type="sldNum" sz="quarter" idx="4"/>
          </p:nvPr>
        </p:nvSpPr>
        <p:spPr/>
        <p:txBody>
          <a:bodyPr/>
          <a:lstStyle/>
          <a:p>
            <a:fld id="{97F98C0B-273E-428A-ABCF-EBED2BA25188}" type="slidenum">
              <a:rPr lang="en-US" smtClean="0"/>
              <a:t>12</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417169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Straight Connector 39"/>
          <p:cNvCxnSpPr>
            <a:stCxn id="9" idx="2"/>
            <a:endCxn id="35" idx="0"/>
          </p:cNvCxnSpPr>
          <p:nvPr/>
        </p:nvCxnSpPr>
        <p:spPr>
          <a:xfrm flipH="1">
            <a:off x="3462588" y="2486924"/>
            <a:ext cx="826" cy="1802738"/>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21" idx="2"/>
            <a:endCxn id="15" idx="0"/>
          </p:cNvCxnSpPr>
          <p:nvPr/>
        </p:nvCxnSpPr>
        <p:spPr>
          <a:xfrm>
            <a:off x="4018936" y="2486923"/>
            <a:ext cx="4548" cy="1054262"/>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3" idx="4"/>
            <a:endCxn id="14" idx="0"/>
          </p:cNvCxnSpPr>
          <p:nvPr/>
        </p:nvCxnSpPr>
        <p:spPr>
          <a:xfrm flipH="1">
            <a:off x="2045108" y="1664992"/>
            <a:ext cx="6044" cy="1490672"/>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8" idx="4"/>
            <a:endCxn id="12" idx="0"/>
          </p:cNvCxnSpPr>
          <p:nvPr/>
        </p:nvCxnSpPr>
        <p:spPr>
          <a:xfrm>
            <a:off x="2362815" y="2339378"/>
            <a:ext cx="2653" cy="1261103"/>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0" idx="2"/>
            <a:endCxn id="16" idx="0"/>
          </p:cNvCxnSpPr>
          <p:nvPr/>
        </p:nvCxnSpPr>
        <p:spPr>
          <a:xfrm>
            <a:off x="7060792" y="2506881"/>
            <a:ext cx="7762" cy="1602034"/>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30" idx="4"/>
            <a:endCxn id="18" idx="0"/>
          </p:cNvCxnSpPr>
          <p:nvPr/>
        </p:nvCxnSpPr>
        <p:spPr>
          <a:xfrm flipH="1">
            <a:off x="7387413" y="1651352"/>
            <a:ext cx="14605" cy="1504312"/>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3" idx="2"/>
            <a:endCxn id="29" idx="0"/>
          </p:cNvCxnSpPr>
          <p:nvPr/>
        </p:nvCxnSpPr>
        <p:spPr>
          <a:xfrm flipH="1">
            <a:off x="1305824" y="2509535"/>
            <a:ext cx="21530" cy="1569527"/>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3755923" y="1961197"/>
            <a:ext cx="526026" cy="525726"/>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normAutofit/>
          </a:bodyPr>
          <a:lstStyle/>
          <a:p>
            <a:r>
              <a:rPr lang="en-AU" dirty="0"/>
              <a:t>… Plus Extra Small Bits of Time</a:t>
            </a:r>
          </a:p>
        </p:txBody>
      </p:sp>
      <p:sp>
        <p:nvSpPr>
          <p:cNvPr id="6" name="Foliennummernplatzhalter 5">
            <a:extLst>
              <a:ext uri="{FF2B5EF4-FFF2-40B4-BE49-F238E27FC236}">
                <a16:creationId xmlns:a16="http://schemas.microsoft.com/office/drawing/2014/main" id="{32CCB9C5-D428-452E-9CB1-1A818CE64676}"/>
              </a:ext>
            </a:extLst>
          </p:cNvPr>
          <p:cNvSpPr>
            <a:spLocks noGrp="1"/>
          </p:cNvSpPr>
          <p:nvPr>
            <p:ph type="sldNum" sz="quarter" idx="4"/>
          </p:nvPr>
        </p:nvSpPr>
        <p:spPr/>
        <p:txBody>
          <a:bodyPr/>
          <a:lstStyle/>
          <a:p>
            <a:fld id="{97F98C0B-273E-428A-ABCF-EBED2BA25188}" type="slidenum">
              <a:rPr lang="en-US" smtClean="0"/>
              <a:t>13</a:t>
            </a:fld>
            <a:endParaRPr lang="en-US"/>
          </a:p>
        </p:txBody>
      </p:sp>
      <p:cxnSp>
        <p:nvCxnSpPr>
          <p:cNvPr id="7" name="Straight Connector 6"/>
          <p:cNvCxnSpPr/>
          <p:nvPr/>
        </p:nvCxnSpPr>
        <p:spPr>
          <a:xfrm>
            <a:off x="983226" y="2787445"/>
            <a:ext cx="6951406" cy="0"/>
          </a:xfrm>
          <a:prstGeom prst="line">
            <a:avLst/>
          </a:prstGeom>
          <a:ln w="762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Oval 7"/>
          <p:cNvSpPr/>
          <p:nvPr/>
        </p:nvSpPr>
        <p:spPr>
          <a:xfrm>
            <a:off x="2230079" y="2073907"/>
            <a:ext cx="265471" cy="26547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p:cNvSpPr/>
          <p:nvPr/>
        </p:nvSpPr>
        <p:spPr>
          <a:xfrm>
            <a:off x="3200401" y="1961198"/>
            <a:ext cx="526026" cy="5257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Isosceles Triangle 10"/>
          <p:cNvSpPr/>
          <p:nvPr/>
        </p:nvSpPr>
        <p:spPr>
          <a:xfrm>
            <a:off x="1186310" y="2857056"/>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TextBox 11"/>
          <p:cNvSpPr txBox="1"/>
          <p:nvPr/>
        </p:nvSpPr>
        <p:spPr>
          <a:xfrm>
            <a:off x="1859407" y="3600481"/>
            <a:ext cx="1012122" cy="740587"/>
          </a:xfrm>
          <a:prstGeom prst="rect">
            <a:avLst/>
          </a:prstGeom>
          <a:noFill/>
        </p:spPr>
        <p:txBody>
          <a:bodyPr wrap="square" rtlCol="0">
            <a:spAutoFit/>
          </a:bodyPr>
          <a:lstStyle/>
          <a:p>
            <a:pPr algn="ctr"/>
            <a:r>
              <a:rPr lang="en-AU" dirty="0"/>
              <a:t>t1’</a:t>
            </a:r>
          </a:p>
          <a:p>
            <a:pPr algn="ctr"/>
            <a:r>
              <a:rPr lang="en-AU" dirty="0"/>
              <a:t>Tx arrives at miner</a:t>
            </a:r>
          </a:p>
        </p:txBody>
      </p:sp>
      <p:sp>
        <p:nvSpPr>
          <p:cNvPr id="13" name="Oval 12"/>
          <p:cNvSpPr/>
          <p:nvPr/>
        </p:nvSpPr>
        <p:spPr>
          <a:xfrm>
            <a:off x="3886200" y="2073908"/>
            <a:ext cx="265471" cy="26547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TextBox 13"/>
          <p:cNvSpPr txBox="1"/>
          <p:nvPr/>
        </p:nvSpPr>
        <p:spPr>
          <a:xfrm>
            <a:off x="1640755" y="3155664"/>
            <a:ext cx="808705" cy="524503"/>
          </a:xfrm>
          <a:prstGeom prst="rect">
            <a:avLst/>
          </a:prstGeom>
          <a:noFill/>
        </p:spPr>
        <p:txBody>
          <a:bodyPr wrap="square" rtlCol="0">
            <a:spAutoFit/>
          </a:bodyPr>
          <a:lstStyle/>
          <a:p>
            <a:pPr algn="ctr"/>
            <a:r>
              <a:rPr lang="en-AU" dirty="0"/>
              <a:t>t1</a:t>
            </a:r>
          </a:p>
          <a:p>
            <a:pPr algn="ctr"/>
            <a:r>
              <a:rPr lang="en-AU" dirty="0"/>
              <a:t>Tx sent</a:t>
            </a:r>
          </a:p>
        </p:txBody>
      </p:sp>
      <p:sp>
        <p:nvSpPr>
          <p:cNvPr id="15" name="TextBox 14"/>
          <p:cNvSpPr txBox="1"/>
          <p:nvPr/>
        </p:nvSpPr>
        <p:spPr>
          <a:xfrm>
            <a:off x="3075592" y="3541185"/>
            <a:ext cx="1895784" cy="740587"/>
          </a:xfrm>
          <a:prstGeom prst="rect">
            <a:avLst/>
          </a:prstGeom>
          <a:noFill/>
        </p:spPr>
        <p:txBody>
          <a:bodyPr wrap="square" rtlCol="0">
            <a:spAutoFit/>
          </a:bodyPr>
          <a:lstStyle/>
          <a:p>
            <a:pPr algn="ctr"/>
            <a:r>
              <a:rPr lang="en-AU" dirty="0"/>
              <a:t>t2’</a:t>
            </a:r>
          </a:p>
          <a:p>
            <a:pPr algn="ctr"/>
            <a:r>
              <a:rPr lang="en-AU" dirty="0"/>
              <a:t>miner includes Tx in new candidate block</a:t>
            </a:r>
          </a:p>
        </p:txBody>
      </p:sp>
      <p:sp>
        <p:nvSpPr>
          <p:cNvPr id="16" name="TextBox 15"/>
          <p:cNvSpPr txBox="1"/>
          <p:nvPr/>
        </p:nvSpPr>
        <p:spPr>
          <a:xfrm>
            <a:off x="6434660" y="4108915"/>
            <a:ext cx="1267788" cy="524503"/>
          </a:xfrm>
          <a:prstGeom prst="rect">
            <a:avLst/>
          </a:prstGeom>
          <a:noFill/>
        </p:spPr>
        <p:txBody>
          <a:bodyPr wrap="square" rtlCol="0">
            <a:spAutoFit/>
          </a:bodyPr>
          <a:lstStyle/>
          <a:p>
            <a:pPr algn="ctr"/>
            <a:r>
              <a:rPr lang="en-AU" dirty="0"/>
              <a:t>t3</a:t>
            </a:r>
          </a:p>
          <a:p>
            <a:pPr algn="ctr"/>
            <a:r>
              <a:rPr lang="en-AU" dirty="0"/>
              <a:t>block is mined</a:t>
            </a:r>
          </a:p>
        </p:txBody>
      </p:sp>
      <p:sp>
        <p:nvSpPr>
          <p:cNvPr id="17" name="TextBox 16"/>
          <p:cNvSpPr txBox="1"/>
          <p:nvPr/>
        </p:nvSpPr>
        <p:spPr>
          <a:xfrm>
            <a:off x="4600231" y="5006270"/>
            <a:ext cx="1821036" cy="461665"/>
          </a:xfrm>
          <a:prstGeom prst="rect">
            <a:avLst/>
          </a:prstGeom>
          <a:noFill/>
        </p:spPr>
        <p:txBody>
          <a:bodyPr wrap="square" rtlCol="0">
            <a:spAutoFit/>
          </a:bodyPr>
          <a:lstStyle/>
          <a:p>
            <a:pPr algn="ctr"/>
            <a:r>
              <a:rPr lang="en-AU" sz="1200" i="1" dirty="0" err="1"/>
              <a:t>interblock</a:t>
            </a:r>
            <a:r>
              <a:rPr lang="en-AU" sz="1200" i="1" dirty="0"/>
              <a:t> time </a:t>
            </a:r>
          </a:p>
          <a:p>
            <a:pPr algn="ctr"/>
            <a:r>
              <a:rPr lang="en-AU" sz="1200" i="1" dirty="0"/>
              <a:t>(includes block prep time)</a:t>
            </a:r>
          </a:p>
        </p:txBody>
      </p:sp>
      <p:sp>
        <p:nvSpPr>
          <p:cNvPr id="18" name="TextBox 17"/>
          <p:cNvSpPr txBox="1"/>
          <p:nvPr/>
        </p:nvSpPr>
        <p:spPr>
          <a:xfrm>
            <a:off x="6273910" y="3155664"/>
            <a:ext cx="2227006" cy="524503"/>
          </a:xfrm>
          <a:prstGeom prst="rect">
            <a:avLst/>
          </a:prstGeom>
          <a:noFill/>
        </p:spPr>
        <p:txBody>
          <a:bodyPr wrap="square" rtlCol="0">
            <a:spAutoFit/>
          </a:bodyPr>
          <a:lstStyle/>
          <a:p>
            <a:pPr algn="ctr"/>
            <a:r>
              <a:rPr lang="en-AU" dirty="0"/>
              <a:t>t3’</a:t>
            </a:r>
          </a:p>
          <a:p>
            <a:pPr algn="ctr"/>
            <a:r>
              <a:rPr lang="en-AU" dirty="0"/>
              <a:t>Tx is observed in new block</a:t>
            </a:r>
          </a:p>
        </p:txBody>
      </p:sp>
      <p:sp>
        <p:nvSpPr>
          <p:cNvPr id="19" name="TextBox 18"/>
          <p:cNvSpPr txBox="1"/>
          <p:nvPr/>
        </p:nvSpPr>
        <p:spPr>
          <a:xfrm>
            <a:off x="2255727" y="5006270"/>
            <a:ext cx="1426104" cy="276999"/>
          </a:xfrm>
          <a:prstGeom prst="rect">
            <a:avLst/>
          </a:prstGeom>
          <a:noFill/>
        </p:spPr>
        <p:txBody>
          <a:bodyPr wrap="square" rtlCol="0">
            <a:spAutoFit/>
          </a:bodyPr>
          <a:lstStyle/>
          <a:p>
            <a:pPr algn="ctr"/>
            <a:r>
              <a:rPr lang="en-AU" sz="1200" i="1" dirty="0" err="1"/>
              <a:t>interblock</a:t>
            </a:r>
            <a:r>
              <a:rPr lang="en-AU" sz="1200" i="1" dirty="0"/>
              <a:t> time / 2</a:t>
            </a:r>
          </a:p>
        </p:txBody>
      </p:sp>
      <p:sp>
        <p:nvSpPr>
          <p:cNvPr id="20" name="Rectangle 19"/>
          <p:cNvSpPr/>
          <p:nvPr/>
        </p:nvSpPr>
        <p:spPr>
          <a:xfrm>
            <a:off x="6797779" y="1981155"/>
            <a:ext cx="526026" cy="5257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Oval 21"/>
          <p:cNvSpPr/>
          <p:nvPr/>
        </p:nvSpPr>
        <p:spPr>
          <a:xfrm>
            <a:off x="6928056" y="2119206"/>
            <a:ext cx="265471" cy="26547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Rectangle 22"/>
          <p:cNvSpPr/>
          <p:nvPr/>
        </p:nvSpPr>
        <p:spPr>
          <a:xfrm>
            <a:off x="1064341" y="1983809"/>
            <a:ext cx="526026" cy="525726"/>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Isosceles Triangle 23"/>
          <p:cNvSpPr/>
          <p:nvPr/>
        </p:nvSpPr>
        <p:spPr>
          <a:xfrm>
            <a:off x="2230079" y="2857056"/>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Isosceles Triangle 24"/>
          <p:cNvSpPr/>
          <p:nvPr/>
        </p:nvSpPr>
        <p:spPr>
          <a:xfrm>
            <a:off x="3333136" y="2857056"/>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Isosceles Triangle 25"/>
          <p:cNvSpPr/>
          <p:nvPr/>
        </p:nvSpPr>
        <p:spPr>
          <a:xfrm>
            <a:off x="3891116" y="2863616"/>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Isosceles Triangle 26"/>
          <p:cNvSpPr/>
          <p:nvPr/>
        </p:nvSpPr>
        <p:spPr>
          <a:xfrm>
            <a:off x="6931442" y="2863616"/>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Isosceles Triangle 27"/>
          <p:cNvSpPr/>
          <p:nvPr/>
        </p:nvSpPr>
        <p:spPr>
          <a:xfrm>
            <a:off x="1919017" y="2856219"/>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TextBox 28"/>
          <p:cNvSpPr txBox="1"/>
          <p:nvPr/>
        </p:nvSpPr>
        <p:spPr>
          <a:xfrm>
            <a:off x="640176" y="4079062"/>
            <a:ext cx="1331296" cy="740587"/>
          </a:xfrm>
          <a:prstGeom prst="rect">
            <a:avLst/>
          </a:prstGeom>
          <a:noFill/>
        </p:spPr>
        <p:txBody>
          <a:bodyPr wrap="square" rtlCol="0">
            <a:spAutoFit/>
          </a:bodyPr>
          <a:lstStyle/>
          <a:p>
            <a:pPr algn="ctr"/>
            <a:r>
              <a:rPr lang="en-AU" dirty="0"/>
              <a:t>t0</a:t>
            </a:r>
            <a:br>
              <a:rPr lang="en-AU" dirty="0"/>
            </a:br>
            <a:r>
              <a:rPr lang="en-AU" dirty="0" err="1"/>
              <a:t>prev</a:t>
            </a:r>
            <a:r>
              <a:rPr lang="en-AU" dirty="0"/>
              <a:t> candidate block</a:t>
            </a:r>
          </a:p>
        </p:txBody>
      </p:sp>
      <p:sp>
        <p:nvSpPr>
          <p:cNvPr id="3" name="Smiley Face 2"/>
          <p:cNvSpPr/>
          <p:nvPr/>
        </p:nvSpPr>
        <p:spPr>
          <a:xfrm>
            <a:off x="1830483" y="1223654"/>
            <a:ext cx="441338" cy="441338"/>
          </a:xfrm>
          <a:prstGeom prst="smileyFace">
            <a:avLst/>
          </a:prstGeom>
          <a:solidFill>
            <a:srgbClr val="FFFF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a:p>
        </p:txBody>
      </p:sp>
      <p:sp>
        <p:nvSpPr>
          <p:cNvPr id="30" name="Smiley Face 29"/>
          <p:cNvSpPr/>
          <p:nvPr/>
        </p:nvSpPr>
        <p:spPr>
          <a:xfrm>
            <a:off x="7181349" y="1210014"/>
            <a:ext cx="441338" cy="441338"/>
          </a:xfrm>
          <a:prstGeom prst="smileyFace">
            <a:avLst/>
          </a:prstGeom>
          <a:solidFill>
            <a:srgbClr val="FFC0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a:p>
        </p:txBody>
      </p:sp>
      <p:cxnSp>
        <p:nvCxnSpPr>
          <p:cNvPr id="5" name="Straight Arrow Connector 4"/>
          <p:cNvCxnSpPr>
            <a:stCxn id="3" idx="4"/>
            <a:endCxn id="8" idx="0"/>
          </p:cNvCxnSpPr>
          <p:nvPr/>
        </p:nvCxnSpPr>
        <p:spPr>
          <a:xfrm>
            <a:off x="2051152" y="1664992"/>
            <a:ext cx="311663" cy="408915"/>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1" name="Isosceles Triangle 30"/>
          <p:cNvSpPr/>
          <p:nvPr/>
        </p:nvSpPr>
        <p:spPr>
          <a:xfrm>
            <a:off x="7257135" y="2854026"/>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32" name="Straight Arrow Connector 31"/>
          <p:cNvCxnSpPr>
            <a:stCxn id="20" idx="0"/>
            <a:endCxn id="30" idx="4"/>
          </p:cNvCxnSpPr>
          <p:nvPr/>
        </p:nvCxnSpPr>
        <p:spPr>
          <a:xfrm flipV="1">
            <a:off x="7060792" y="1651352"/>
            <a:ext cx="341226" cy="329803"/>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2648968" y="4289662"/>
            <a:ext cx="1627239" cy="524503"/>
          </a:xfrm>
          <a:prstGeom prst="rect">
            <a:avLst/>
          </a:prstGeom>
          <a:noFill/>
        </p:spPr>
        <p:txBody>
          <a:bodyPr wrap="square" rtlCol="0">
            <a:spAutoFit/>
          </a:bodyPr>
          <a:lstStyle/>
          <a:p>
            <a:pPr algn="ctr"/>
            <a:r>
              <a:rPr lang="en-AU" dirty="0"/>
              <a:t>t2</a:t>
            </a:r>
          </a:p>
          <a:p>
            <a:pPr algn="ctr"/>
            <a:r>
              <a:rPr lang="en-AU" dirty="0"/>
              <a:t>block is mined</a:t>
            </a:r>
          </a:p>
        </p:txBody>
      </p:sp>
      <p:sp>
        <p:nvSpPr>
          <p:cNvPr id="66" name="Left Brace 65"/>
          <p:cNvSpPr/>
          <p:nvPr/>
        </p:nvSpPr>
        <p:spPr>
          <a:xfrm rot="16200000">
            <a:off x="2825153" y="4368835"/>
            <a:ext cx="175098" cy="1099773"/>
          </a:xfrm>
          <a:prstGeom prst="leftBrace">
            <a:avLst>
              <a:gd name="adj1" fmla="val 3055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67" name="Left Brace 66"/>
          <p:cNvSpPr/>
          <p:nvPr/>
        </p:nvSpPr>
        <p:spPr>
          <a:xfrm rot="16200000">
            <a:off x="5170195" y="3116274"/>
            <a:ext cx="175098" cy="3606099"/>
          </a:xfrm>
          <a:prstGeom prst="leftBrace">
            <a:avLst>
              <a:gd name="adj1" fmla="val 34259"/>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68" name="TextBox 67"/>
          <p:cNvSpPr txBox="1"/>
          <p:nvPr/>
        </p:nvSpPr>
        <p:spPr>
          <a:xfrm>
            <a:off x="39841" y="2579696"/>
            <a:ext cx="897374" cy="415498"/>
          </a:xfrm>
          <a:prstGeom prst="rect">
            <a:avLst/>
          </a:prstGeom>
          <a:noFill/>
        </p:spPr>
        <p:txBody>
          <a:bodyPr wrap="square" rtlCol="0">
            <a:spAutoFit/>
          </a:bodyPr>
          <a:lstStyle/>
          <a:p>
            <a:r>
              <a:rPr lang="en-AU" sz="1050" dirty="0"/>
              <a:t>Timeline</a:t>
            </a:r>
          </a:p>
          <a:p>
            <a:r>
              <a:rPr lang="en-AU" sz="1050" dirty="0"/>
              <a:t>(not to scale)</a:t>
            </a:r>
          </a:p>
        </p:txBody>
      </p:sp>
      <p:sp>
        <p:nvSpPr>
          <p:cNvPr id="69" name="Rectangle 68"/>
          <p:cNvSpPr/>
          <p:nvPr/>
        </p:nvSpPr>
        <p:spPr>
          <a:xfrm>
            <a:off x="504803" y="1983336"/>
            <a:ext cx="526026" cy="525726"/>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0" name="Rectangle 69"/>
          <p:cNvSpPr/>
          <p:nvPr/>
        </p:nvSpPr>
        <p:spPr>
          <a:xfrm>
            <a:off x="7353301" y="1981335"/>
            <a:ext cx="526026" cy="525726"/>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6" name="Left Brace 75"/>
          <p:cNvSpPr/>
          <p:nvPr/>
        </p:nvSpPr>
        <p:spPr>
          <a:xfrm rot="16200000">
            <a:off x="3653213" y="4643708"/>
            <a:ext cx="175098" cy="556347"/>
          </a:xfrm>
          <a:prstGeom prst="leftBrace">
            <a:avLst>
              <a:gd name="adj1" fmla="val 3055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77" name="Left Brace 76"/>
          <p:cNvSpPr/>
          <p:nvPr/>
        </p:nvSpPr>
        <p:spPr>
          <a:xfrm rot="16200000">
            <a:off x="2116414" y="4759868"/>
            <a:ext cx="175098" cy="317706"/>
          </a:xfrm>
          <a:prstGeom prst="leftBrace">
            <a:avLst>
              <a:gd name="adj1" fmla="val 3055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78" name="Left Brace 77"/>
          <p:cNvSpPr/>
          <p:nvPr/>
        </p:nvSpPr>
        <p:spPr>
          <a:xfrm rot="16200000">
            <a:off x="7147737" y="4761633"/>
            <a:ext cx="175098" cy="333464"/>
          </a:xfrm>
          <a:prstGeom prst="leftBrace">
            <a:avLst>
              <a:gd name="adj1" fmla="val 3055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80" name="TextBox 79"/>
          <p:cNvSpPr txBox="1"/>
          <p:nvPr/>
        </p:nvSpPr>
        <p:spPr>
          <a:xfrm>
            <a:off x="6315235" y="5006270"/>
            <a:ext cx="359868" cy="276999"/>
          </a:xfrm>
          <a:prstGeom prst="rect">
            <a:avLst/>
          </a:prstGeom>
          <a:noFill/>
        </p:spPr>
        <p:txBody>
          <a:bodyPr wrap="square" rtlCol="0">
            <a:spAutoFit/>
          </a:bodyPr>
          <a:lstStyle/>
          <a:p>
            <a:pPr algn="ctr"/>
            <a:r>
              <a:rPr lang="en-AU" sz="1200" i="1" dirty="0"/>
              <a:t>+</a:t>
            </a:r>
          </a:p>
        </p:txBody>
      </p:sp>
      <p:sp>
        <p:nvSpPr>
          <p:cNvPr id="81" name="TextBox 80"/>
          <p:cNvSpPr txBox="1"/>
          <p:nvPr/>
        </p:nvSpPr>
        <p:spPr>
          <a:xfrm>
            <a:off x="2063721" y="5006270"/>
            <a:ext cx="359868" cy="276999"/>
          </a:xfrm>
          <a:prstGeom prst="rect">
            <a:avLst/>
          </a:prstGeom>
          <a:noFill/>
        </p:spPr>
        <p:txBody>
          <a:bodyPr wrap="square" rtlCol="0">
            <a:spAutoFit/>
          </a:bodyPr>
          <a:lstStyle/>
          <a:p>
            <a:pPr algn="ctr"/>
            <a:r>
              <a:rPr lang="en-AU" sz="1200" i="1" dirty="0"/>
              <a:t>+</a:t>
            </a:r>
          </a:p>
        </p:txBody>
      </p:sp>
      <p:sp>
        <p:nvSpPr>
          <p:cNvPr id="82" name="TextBox 81"/>
          <p:cNvSpPr txBox="1"/>
          <p:nvPr/>
        </p:nvSpPr>
        <p:spPr>
          <a:xfrm>
            <a:off x="4722483" y="5006270"/>
            <a:ext cx="359868" cy="276999"/>
          </a:xfrm>
          <a:prstGeom prst="rect">
            <a:avLst/>
          </a:prstGeom>
          <a:noFill/>
        </p:spPr>
        <p:txBody>
          <a:bodyPr wrap="square" rtlCol="0">
            <a:spAutoFit/>
          </a:bodyPr>
          <a:lstStyle/>
          <a:p>
            <a:pPr algn="ctr"/>
            <a:r>
              <a:rPr lang="en-AU" sz="1200" i="1" dirty="0"/>
              <a:t>+</a:t>
            </a:r>
          </a:p>
        </p:txBody>
      </p:sp>
      <p:sp>
        <p:nvSpPr>
          <p:cNvPr id="83" name="TextBox 82"/>
          <p:cNvSpPr txBox="1"/>
          <p:nvPr/>
        </p:nvSpPr>
        <p:spPr>
          <a:xfrm>
            <a:off x="578778" y="5006270"/>
            <a:ext cx="1764399" cy="276999"/>
          </a:xfrm>
          <a:prstGeom prst="rect">
            <a:avLst/>
          </a:prstGeom>
          <a:noFill/>
        </p:spPr>
        <p:txBody>
          <a:bodyPr wrap="square" rtlCol="0">
            <a:spAutoFit/>
          </a:bodyPr>
          <a:lstStyle/>
          <a:p>
            <a:pPr algn="ctr"/>
            <a:r>
              <a:rPr lang="en-AU" sz="1200" i="1" dirty="0"/>
              <a:t>Tx propagation time</a:t>
            </a:r>
          </a:p>
        </p:txBody>
      </p:sp>
      <p:sp>
        <p:nvSpPr>
          <p:cNvPr id="84" name="TextBox 83"/>
          <p:cNvSpPr txBox="1"/>
          <p:nvPr/>
        </p:nvSpPr>
        <p:spPr>
          <a:xfrm>
            <a:off x="6482040" y="5006270"/>
            <a:ext cx="1376448" cy="461665"/>
          </a:xfrm>
          <a:prstGeom prst="rect">
            <a:avLst/>
          </a:prstGeom>
          <a:noFill/>
        </p:spPr>
        <p:txBody>
          <a:bodyPr wrap="square" rtlCol="0">
            <a:spAutoFit/>
          </a:bodyPr>
          <a:lstStyle/>
          <a:p>
            <a:pPr algn="ctr"/>
            <a:r>
              <a:rPr lang="en-AU" sz="1200" i="1" dirty="0"/>
              <a:t>block propagation time</a:t>
            </a:r>
          </a:p>
        </p:txBody>
      </p:sp>
      <p:sp>
        <p:nvSpPr>
          <p:cNvPr id="85" name="TextBox 84"/>
          <p:cNvSpPr txBox="1"/>
          <p:nvPr/>
        </p:nvSpPr>
        <p:spPr>
          <a:xfrm>
            <a:off x="3561230" y="5006270"/>
            <a:ext cx="1349240" cy="276999"/>
          </a:xfrm>
          <a:prstGeom prst="rect">
            <a:avLst/>
          </a:prstGeom>
          <a:noFill/>
        </p:spPr>
        <p:txBody>
          <a:bodyPr wrap="square" rtlCol="0">
            <a:spAutoFit/>
          </a:bodyPr>
          <a:lstStyle/>
          <a:p>
            <a:pPr algn="ctr"/>
            <a:r>
              <a:rPr lang="en-AU" sz="1200" i="1" dirty="0"/>
              <a:t>+ block prep time</a:t>
            </a:r>
          </a:p>
        </p:txBody>
      </p:sp>
      <p:sp>
        <p:nvSpPr>
          <p:cNvPr id="4" name="Rectangle 3"/>
          <p:cNvSpPr/>
          <p:nvPr/>
        </p:nvSpPr>
        <p:spPr>
          <a:xfrm>
            <a:off x="7517690" y="4710010"/>
            <a:ext cx="1399742" cy="261610"/>
          </a:xfrm>
          <a:prstGeom prst="rect">
            <a:avLst/>
          </a:prstGeom>
          <a:ln>
            <a:solidFill>
              <a:schemeClr val="tx1"/>
            </a:solidFill>
          </a:ln>
        </p:spPr>
        <p:txBody>
          <a:bodyPr wrap="none">
            <a:spAutoFit/>
          </a:bodyPr>
          <a:lstStyle/>
          <a:p>
            <a:r>
              <a:rPr lang="en-AU" sz="1100" dirty="0">
                <a:hlinkClick r:id="rId3"/>
              </a:rPr>
              <a:t>https://ethstats.net/</a:t>
            </a:r>
            <a:r>
              <a:rPr lang="en-AU" sz="1100" dirty="0"/>
              <a:t> </a:t>
            </a:r>
          </a:p>
        </p:txBody>
      </p:sp>
    </p:spTree>
    <p:extLst>
      <p:ext uri="{BB962C8B-B14F-4D97-AF65-F5344CB8AC3E}">
        <p14:creationId xmlns:p14="http://schemas.microsoft.com/office/powerpoint/2010/main" val="3556705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1" nodeType="clickEffect">
                                  <p:stCondLst>
                                    <p:cond delay="0"/>
                                  </p:stCondLst>
                                  <p:childTnLst>
                                    <p:set>
                                      <p:cBhvr>
                                        <p:cTn id="34" dur="1" fill="hold">
                                          <p:stCondLst>
                                            <p:cond delay="0"/>
                                          </p:stCondLst>
                                        </p:cTn>
                                        <p:tgtEl>
                                          <p:spTgt spid="76"/>
                                        </p:tgtEl>
                                        <p:attrNameLst>
                                          <p:attrName>style.visibility</p:attrName>
                                        </p:attrNameLst>
                                      </p:cBhvr>
                                      <p:to>
                                        <p:strVal val="hidden"/>
                                      </p:to>
                                    </p:set>
                                  </p:childTnLst>
                                </p:cTn>
                              </p:par>
                              <p:par>
                                <p:cTn id="35" presetID="1" presetClass="exit" presetSubtype="0" fill="hold" grpId="1" nodeType="withEffect">
                                  <p:stCondLst>
                                    <p:cond delay="0"/>
                                  </p:stCondLst>
                                  <p:childTnLst>
                                    <p:set>
                                      <p:cBhvr>
                                        <p:cTn id="36" dur="1" fill="hold">
                                          <p:stCondLst>
                                            <p:cond delay="0"/>
                                          </p:stCondLst>
                                        </p:cTn>
                                        <p:tgtEl>
                                          <p:spTgt spid="85"/>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7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9" grpId="0"/>
      <p:bldP spid="66" grpId="0" animBg="1"/>
      <p:bldP spid="67" grpId="0" animBg="1"/>
      <p:bldP spid="76" grpId="0" animBg="1"/>
      <p:bldP spid="76" grpId="1" animBg="1"/>
      <p:bldP spid="77" grpId="0" animBg="1"/>
      <p:bldP spid="78" grpId="0" animBg="1"/>
      <p:bldP spid="80" grpId="0"/>
      <p:bldP spid="81" grpId="0"/>
      <p:bldP spid="82" grpId="0"/>
      <p:bldP spid="83" grpId="0"/>
      <p:bldP spid="84" grpId="0"/>
      <p:bldP spid="85" grpId="0"/>
      <p:bldP spid="85"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p:cNvCxnSpPr>
            <a:stCxn id="21" idx="2"/>
            <a:endCxn id="15" idx="0"/>
          </p:cNvCxnSpPr>
          <p:nvPr/>
        </p:nvCxnSpPr>
        <p:spPr>
          <a:xfrm flipH="1">
            <a:off x="4023484" y="2883985"/>
            <a:ext cx="515" cy="82685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8" idx="4"/>
            <a:endCxn id="14" idx="0"/>
          </p:cNvCxnSpPr>
          <p:nvPr/>
        </p:nvCxnSpPr>
        <p:spPr>
          <a:xfrm flipH="1">
            <a:off x="2354293" y="2739203"/>
            <a:ext cx="3606" cy="971632"/>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0" idx="2"/>
            <a:endCxn id="18" idx="0"/>
          </p:cNvCxnSpPr>
          <p:nvPr/>
        </p:nvCxnSpPr>
        <p:spPr>
          <a:xfrm flipH="1">
            <a:off x="7286972" y="2886722"/>
            <a:ext cx="1" cy="824113"/>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3" idx="2"/>
            <a:endCxn id="29" idx="0"/>
          </p:cNvCxnSpPr>
          <p:nvPr/>
        </p:nvCxnSpPr>
        <p:spPr>
          <a:xfrm flipH="1">
            <a:off x="1305824" y="2316915"/>
            <a:ext cx="17680" cy="139392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3760986" y="2364812"/>
            <a:ext cx="526026" cy="519173"/>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648000" y="304551"/>
            <a:ext cx="7920000" cy="648000"/>
          </a:xfrm>
        </p:spPr>
        <p:txBody>
          <a:bodyPr>
            <a:noAutofit/>
          </a:bodyPr>
          <a:lstStyle/>
          <a:p>
            <a:r>
              <a:rPr lang="en-AU" sz="2800" dirty="0"/>
              <a:t>… Also, Major Sources of Variation in Latency</a:t>
            </a:r>
          </a:p>
        </p:txBody>
      </p:sp>
      <p:sp>
        <p:nvSpPr>
          <p:cNvPr id="6" name="Foliennummernplatzhalter 5">
            <a:extLst>
              <a:ext uri="{FF2B5EF4-FFF2-40B4-BE49-F238E27FC236}">
                <a16:creationId xmlns:a16="http://schemas.microsoft.com/office/drawing/2014/main" id="{F09F178C-DCFC-42D3-881C-8453C01F26AC}"/>
              </a:ext>
            </a:extLst>
          </p:cNvPr>
          <p:cNvSpPr>
            <a:spLocks noGrp="1"/>
          </p:cNvSpPr>
          <p:nvPr>
            <p:ph type="sldNum" sz="quarter" idx="4"/>
          </p:nvPr>
        </p:nvSpPr>
        <p:spPr/>
        <p:txBody>
          <a:bodyPr/>
          <a:lstStyle/>
          <a:p>
            <a:fld id="{97F98C0B-273E-428A-ABCF-EBED2BA25188}" type="slidenum">
              <a:rPr lang="en-US" smtClean="0"/>
              <a:t>14</a:t>
            </a:fld>
            <a:endParaRPr lang="en-US"/>
          </a:p>
        </p:txBody>
      </p:sp>
      <p:cxnSp>
        <p:nvCxnSpPr>
          <p:cNvPr id="7" name="Straight Connector 6"/>
          <p:cNvCxnSpPr/>
          <p:nvPr/>
        </p:nvCxnSpPr>
        <p:spPr>
          <a:xfrm>
            <a:off x="983226" y="3039836"/>
            <a:ext cx="6951406" cy="0"/>
          </a:xfrm>
          <a:prstGeom prst="line">
            <a:avLst/>
          </a:prstGeom>
          <a:ln w="762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Oval 7"/>
          <p:cNvSpPr/>
          <p:nvPr/>
        </p:nvSpPr>
        <p:spPr>
          <a:xfrm>
            <a:off x="2225163" y="2473732"/>
            <a:ext cx="265471" cy="26547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p:cNvSpPr/>
          <p:nvPr/>
        </p:nvSpPr>
        <p:spPr>
          <a:xfrm>
            <a:off x="3755920" y="1797742"/>
            <a:ext cx="526026" cy="5191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Isosceles Triangle 10"/>
          <p:cNvSpPr/>
          <p:nvPr/>
        </p:nvSpPr>
        <p:spPr>
          <a:xfrm>
            <a:off x="1186310" y="3109447"/>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Oval 12"/>
          <p:cNvSpPr/>
          <p:nvPr/>
        </p:nvSpPr>
        <p:spPr>
          <a:xfrm>
            <a:off x="3878336" y="2473733"/>
            <a:ext cx="265471" cy="26547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TextBox 13"/>
          <p:cNvSpPr txBox="1"/>
          <p:nvPr/>
        </p:nvSpPr>
        <p:spPr>
          <a:xfrm>
            <a:off x="1949940" y="3710835"/>
            <a:ext cx="808705" cy="524503"/>
          </a:xfrm>
          <a:prstGeom prst="rect">
            <a:avLst/>
          </a:prstGeom>
          <a:noFill/>
        </p:spPr>
        <p:txBody>
          <a:bodyPr wrap="square" rtlCol="0">
            <a:spAutoFit/>
          </a:bodyPr>
          <a:lstStyle/>
          <a:p>
            <a:pPr algn="ctr"/>
            <a:r>
              <a:rPr lang="en-AU" dirty="0"/>
              <a:t>t1</a:t>
            </a:r>
          </a:p>
          <a:p>
            <a:pPr algn="ctr"/>
            <a:r>
              <a:rPr lang="en-AU" dirty="0"/>
              <a:t>Tx sent</a:t>
            </a:r>
          </a:p>
        </p:txBody>
      </p:sp>
      <p:sp>
        <p:nvSpPr>
          <p:cNvPr id="15" name="TextBox 14"/>
          <p:cNvSpPr txBox="1"/>
          <p:nvPr/>
        </p:nvSpPr>
        <p:spPr>
          <a:xfrm>
            <a:off x="3075592" y="3710835"/>
            <a:ext cx="1895784" cy="740587"/>
          </a:xfrm>
          <a:prstGeom prst="rect">
            <a:avLst/>
          </a:prstGeom>
          <a:noFill/>
        </p:spPr>
        <p:txBody>
          <a:bodyPr wrap="square" rtlCol="0">
            <a:spAutoFit/>
          </a:bodyPr>
          <a:lstStyle/>
          <a:p>
            <a:pPr algn="ctr"/>
            <a:r>
              <a:rPr lang="en-AU" dirty="0"/>
              <a:t>t2</a:t>
            </a:r>
          </a:p>
          <a:p>
            <a:pPr algn="ctr"/>
            <a:r>
              <a:rPr lang="en-AU" dirty="0"/>
              <a:t>miner includes Tx in candidate block</a:t>
            </a:r>
          </a:p>
        </p:txBody>
      </p:sp>
      <p:sp>
        <p:nvSpPr>
          <p:cNvPr id="18" name="TextBox 17"/>
          <p:cNvSpPr txBox="1"/>
          <p:nvPr/>
        </p:nvSpPr>
        <p:spPr>
          <a:xfrm>
            <a:off x="6173469" y="3710835"/>
            <a:ext cx="2227006" cy="740587"/>
          </a:xfrm>
          <a:prstGeom prst="rect">
            <a:avLst/>
          </a:prstGeom>
          <a:noFill/>
        </p:spPr>
        <p:txBody>
          <a:bodyPr wrap="square" rtlCol="0">
            <a:spAutoFit/>
          </a:bodyPr>
          <a:lstStyle/>
          <a:p>
            <a:pPr algn="ctr"/>
            <a:r>
              <a:rPr lang="en-AU" dirty="0"/>
              <a:t>t3</a:t>
            </a:r>
          </a:p>
          <a:p>
            <a:pPr algn="ctr"/>
            <a:r>
              <a:rPr lang="en-AU" dirty="0"/>
              <a:t>Tx is observed in new mined block</a:t>
            </a:r>
          </a:p>
        </p:txBody>
      </p:sp>
      <p:sp>
        <p:nvSpPr>
          <p:cNvPr id="20" name="Rectangle 19"/>
          <p:cNvSpPr/>
          <p:nvPr/>
        </p:nvSpPr>
        <p:spPr>
          <a:xfrm>
            <a:off x="7023960" y="2367549"/>
            <a:ext cx="526026" cy="5191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Oval 21"/>
          <p:cNvSpPr/>
          <p:nvPr/>
        </p:nvSpPr>
        <p:spPr>
          <a:xfrm>
            <a:off x="7154237" y="2507887"/>
            <a:ext cx="265471" cy="26547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Rectangle 22"/>
          <p:cNvSpPr/>
          <p:nvPr/>
        </p:nvSpPr>
        <p:spPr>
          <a:xfrm>
            <a:off x="1060491" y="1797742"/>
            <a:ext cx="526026" cy="519173"/>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Isosceles Triangle 23"/>
          <p:cNvSpPr/>
          <p:nvPr/>
        </p:nvSpPr>
        <p:spPr>
          <a:xfrm>
            <a:off x="2230079" y="3109447"/>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Isosceles Triangle 25"/>
          <p:cNvSpPr/>
          <p:nvPr/>
        </p:nvSpPr>
        <p:spPr>
          <a:xfrm>
            <a:off x="3891116" y="3116007"/>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TextBox 28"/>
          <p:cNvSpPr txBox="1"/>
          <p:nvPr/>
        </p:nvSpPr>
        <p:spPr>
          <a:xfrm>
            <a:off x="640176" y="3710835"/>
            <a:ext cx="1331296" cy="956672"/>
          </a:xfrm>
          <a:prstGeom prst="rect">
            <a:avLst/>
          </a:prstGeom>
          <a:noFill/>
        </p:spPr>
        <p:txBody>
          <a:bodyPr wrap="square" rtlCol="0">
            <a:spAutoFit/>
          </a:bodyPr>
          <a:lstStyle/>
          <a:p>
            <a:pPr algn="ctr"/>
            <a:r>
              <a:rPr lang="en-AU" dirty="0"/>
              <a:t>t0</a:t>
            </a:r>
            <a:br>
              <a:rPr lang="en-AU" dirty="0"/>
            </a:br>
            <a:r>
              <a:rPr lang="en-AU" dirty="0"/>
              <a:t>start mining on previous candidate block</a:t>
            </a:r>
          </a:p>
        </p:txBody>
      </p:sp>
      <p:sp>
        <p:nvSpPr>
          <p:cNvPr id="3" name="Smiley Face 2"/>
          <p:cNvSpPr/>
          <p:nvPr/>
        </p:nvSpPr>
        <p:spPr>
          <a:xfrm>
            <a:off x="2139687" y="1221909"/>
            <a:ext cx="441338" cy="441338"/>
          </a:xfrm>
          <a:prstGeom prst="smileyFace">
            <a:avLst/>
          </a:prstGeom>
          <a:solidFill>
            <a:srgbClr val="FFFF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a:p>
        </p:txBody>
      </p:sp>
      <p:sp>
        <p:nvSpPr>
          <p:cNvPr id="30" name="Smiley Face 29"/>
          <p:cNvSpPr/>
          <p:nvPr/>
        </p:nvSpPr>
        <p:spPr>
          <a:xfrm>
            <a:off x="7068554" y="1153768"/>
            <a:ext cx="441338" cy="441338"/>
          </a:xfrm>
          <a:prstGeom prst="smileyFace">
            <a:avLst/>
          </a:prstGeom>
          <a:solidFill>
            <a:srgbClr val="FFC0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a:p>
        </p:txBody>
      </p:sp>
      <p:cxnSp>
        <p:nvCxnSpPr>
          <p:cNvPr id="5" name="Straight Arrow Connector 4"/>
          <p:cNvCxnSpPr>
            <a:stCxn id="3" idx="4"/>
            <a:endCxn id="8" idx="0"/>
          </p:cNvCxnSpPr>
          <p:nvPr/>
        </p:nvCxnSpPr>
        <p:spPr>
          <a:xfrm flipH="1">
            <a:off x="2357899" y="1663247"/>
            <a:ext cx="2457" cy="810485"/>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1" name="Isosceles Triangle 30"/>
          <p:cNvSpPr/>
          <p:nvPr/>
        </p:nvSpPr>
        <p:spPr>
          <a:xfrm>
            <a:off x="7159153" y="3116006"/>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32" name="Straight Arrow Connector 31"/>
          <p:cNvCxnSpPr>
            <a:stCxn id="20" idx="0"/>
            <a:endCxn id="30" idx="4"/>
          </p:cNvCxnSpPr>
          <p:nvPr/>
        </p:nvCxnSpPr>
        <p:spPr>
          <a:xfrm flipV="1">
            <a:off x="7286973" y="1595106"/>
            <a:ext cx="2250" cy="772443"/>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39841" y="2832087"/>
            <a:ext cx="897374" cy="415498"/>
          </a:xfrm>
          <a:prstGeom prst="rect">
            <a:avLst/>
          </a:prstGeom>
          <a:noFill/>
        </p:spPr>
        <p:txBody>
          <a:bodyPr wrap="square" rtlCol="0">
            <a:spAutoFit/>
          </a:bodyPr>
          <a:lstStyle/>
          <a:p>
            <a:r>
              <a:rPr lang="en-AU" sz="1050" dirty="0"/>
              <a:t>Timeline</a:t>
            </a:r>
          </a:p>
          <a:p>
            <a:r>
              <a:rPr lang="en-AU" sz="1050" dirty="0"/>
              <a:t>(not to scale)</a:t>
            </a:r>
          </a:p>
        </p:txBody>
      </p:sp>
      <p:sp>
        <p:nvSpPr>
          <p:cNvPr id="4" name="TextBox 3"/>
          <p:cNvSpPr txBox="1"/>
          <p:nvPr/>
        </p:nvSpPr>
        <p:spPr>
          <a:xfrm>
            <a:off x="4438512" y="1381162"/>
            <a:ext cx="2453942" cy="1200329"/>
          </a:xfrm>
          <a:prstGeom prst="rect">
            <a:avLst/>
          </a:prstGeom>
          <a:noFill/>
          <a:ln>
            <a:solidFill>
              <a:srgbClr val="FF0000"/>
            </a:solidFill>
          </a:ln>
        </p:spPr>
        <p:txBody>
          <a:bodyPr wrap="none" rtlCol="0">
            <a:spAutoFit/>
          </a:bodyPr>
          <a:lstStyle/>
          <a:p>
            <a:r>
              <a:rPr lang="en-AU" sz="1800" b="1" dirty="0"/>
              <a:t>Probability of Tx</a:t>
            </a:r>
            <a:br>
              <a:rPr lang="en-AU" sz="1800" b="1" dirty="0"/>
            </a:br>
            <a:r>
              <a:rPr lang="en-AU" sz="1800" b="1" dirty="0"/>
              <a:t>inclusion? May have to</a:t>
            </a:r>
            <a:br>
              <a:rPr lang="en-AU" sz="1800" b="1" dirty="0"/>
            </a:br>
            <a:r>
              <a:rPr lang="en-AU" sz="1800" b="1" dirty="0"/>
              <a:t>wait for another block.</a:t>
            </a:r>
            <a:br>
              <a:rPr lang="en-AU" sz="1800" b="1" dirty="0"/>
            </a:br>
            <a:r>
              <a:rPr lang="en-AU" sz="1800" b="1" dirty="0"/>
              <a:t>Also, affected by fees…</a:t>
            </a:r>
          </a:p>
        </p:txBody>
      </p:sp>
      <p:sp>
        <p:nvSpPr>
          <p:cNvPr id="35" name="TextBox 34"/>
          <p:cNvSpPr txBox="1"/>
          <p:nvPr/>
        </p:nvSpPr>
        <p:spPr>
          <a:xfrm>
            <a:off x="2513120" y="3121734"/>
            <a:ext cx="1348125" cy="830997"/>
          </a:xfrm>
          <a:prstGeom prst="rect">
            <a:avLst/>
          </a:prstGeom>
          <a:noFill/>
          <a:ln>
            <a:solidFill>
              <a:srgbClr val="FF0000"/>
            </a:solidFill>
          </a:ln>
        </p:spPr>
        <p:txBody>
          <a:bodyPr wrap="square" rtlCol="0">
            <a:spAutoFit/>
          </a:bodyPr>
          <a:lstStyle/>
          <a:p>
            <a:r>
              <a:rPr lang="en-AU" sz="1600" b="1" dirty="0"/>
              <a:t>Arrival time</a:t>
            </a:r>
            <a:br>
              <a:rPr lang="en-AU" sz="1600" b="1" dirty="0"/>
            </a:br>
            <a:r>
              <a:rPr lang="en-AU" sz="1600" b="1" dirty="0"/>
              <a:t>within mining</a:t>
            </a:r>
            <a:br>
              <a:rPr lang="en-AU" sz="1600" b="1" dirty="0"/>
            </a:br>
            <a:r>
              <a:rPr lang="en-AU" sz="1600" b="1" dirty="0"/>
              <a:t>window?</a:t>
            </a:r>
          </a:p>
        </p:txBody>
      </p:sp>
      <p:sp>
        <p:nvSpPr>
          <p:cNvPr id="36" name="TextBox 35"/>
          <p:cNvSpPr txBox="1"/>
          <p:nvPr/>
        </p:nvSpPr>
        <p:spPr>
          <a:xfrm>
            <a:off x="1271531" y="4716782"/>
            <a:ext cx="2618987" cy="369332"/>
          </a:xfrm>
          <a:prstGeom prst="rect">
            <a:avLst/>
          </a:prstGeom>
          <a:noFill/>
          <a:ln>
            <a:solidFill>
              <a:srgbClr val="FF0000"/>
            </a:solidFill>
          </a:ln>
        </p:spPr>
        <p:txBody>
          <a:bodyPr wrap="none" rtlCol="0">
            <a:spAutoFit/>
          </a:bodyPr>
          <a:lstStyle/>
          <a:p>
            <a:r>
              <a:rPr lang="en-AU" sz="1800" b="1" dirty="0"/>
              <a:t>Previous </a:t>
            </a:r>
            <a:r>
              <a:rPr lang="en-AU" sz="1800" b="1" dirty="0" err="1"/>
              <a:t>interblock</a:t>
            </a:r>
            <a:r>
              <a:rPr lang="en-AU" sz="1800" b="1" dirty="0"/>
              <a:t> time?</a:t>
            </a:r>
          </a:p>
        </p:txBody>
      </p:sp>
      <p:sp>
        <p:nvSpPr>
          <p:cNvPr id="37" name="TextBox 36"/>
          <p:cNvSpPr txBox="1"/>
          <p:nvPr/>
        </p:nvSpPr>
        <p:spPr>
          <a:xfrm>
            <a:off x="4971376" y="4716782"/>
            <a:ext cx="2582758" cy="369332"/>
          </a:xfrm>
          <a:prstGeom prst="rect">
            <a:avLst/>
          </a:prstGeom>
          <a:noFill/>
          <a:ln>
            <a:solidFill>
              <a:srgbClr val="FF0000"/>
            </a:solidFill>
          </a:ln>
        </p:spPr>
        <p:txBody>
          <a:bodyPr wrap="none" rtlCol="0">
            <a:spAutoFit/>
          </a:bodyPr>
          <a:lstStyle/>
          <a:p>
            <a:r>
              <a:rPr lang="en-AU" sz="1800" b="1" dirty="0"/>
              <a:t>Current </a:t>
            </a:r>
            <a:r>
              <a:rPr lang="en-AU" sz="1800" b="1" dirty="0" err="1"/>
              <a:t>interblock</a:t>
            </a:r>
            <a:r>
              <a:rPr lang="en-AU" sz="1800" b="1" dirty="0"/>
              <a:t> time?</a:t>
            </a:r>
          </a:p>
        </p:txBody>
      </p:sp>
      <p:cxnSp>
        <p:nvCxnSpPr>
          <p:cNvPr id="10" name="Straight Arrow Connector 9"/>
          <p:cNvCxnSpPr>
            <a:stCxn id="23" idx="3"/>
            <a:endCxn id="9" idx="1"/>
          </p:cNvCxnSpPr>
          <p:nvPr/>
        </p:nvCxnSpPr>
        <p:spPr>
          <a:xfrm>
            <a:off x="1586517" y="2057329"/>
            <a:ext cx="2169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1" idx="3"/>
          </p:cNvCxnSpPr>
          <p:nvPr/>
        </p:nvCxnSpPr>
        <p:spPr>
          <a:xfrm>
            <a:off x="4287012" y="2624399"/>
            <a:ext cx="2736948" cy="177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9774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5" grpId="0" animBg="1"/>
      <p:bldP spid="36" grpId="0" animBg="1"/>
      <p:bldP spid="3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1" y="1272399"/>
            <a:ext cx="7911799" cy="1305103"/>
          </a:xfrm>
        </p:spPr>
        <p:txBody>
          <a:bodyPr>
            <a:normAutofit fontScale="92500" lnSpcReduction="10000"/>
          </a:bodyPr>
          <a:lstStyle/>
          <a:p>
            <a:r>
              <a:rPr lang="en-AU" dirty="0"/>
              <a:t>On Ethereum: not 1.5 x </a:t>
            </a:r>
            <a:r>
              <a:rPr lang="en-AU" dirty="0" err="1"/>
              <a:t>interblock</a:t>
            </a:r>
            <a:r>
              <a:rPr lang="en-AU" dirty="0"/>
              <a:t> time; in practice more like ~1.8 x inter-block time?</a:t>
            </a:r>
          </a:p>
          <a:p>
            <a:r>
              <a:rPr lang="en-AU" dirty="0"/>
              <a:t>But with a lot of variation!  Some caused by Tx fee, gas fee, etc.</a:t>
            </a:r>
          </a:p>
          <a:p>
            <a:r>
              <a:rPr lang="en-AU" dirty="0"/>
              <a:t>You need to design your system to cope with this to meet requirements</a:t>
            </a:r>
          </a:p>
        </p:txBody>
      </p:sp>
      <p:sp>
        <p:nvSpPr>
          <p:cNvPr id="2" name="Title 1"/>
          <p:cNvSpPr>
            <a:spLocks noGrp="1"/>
          </p:cNvSpPr>
          <p:nvPr>
            <p:ph type="title"/>
          </p:nvPr>
        </p:nvSpPr>
        <p:spPr/>
        <p:txBody>
          <a:bodyPr/>
          <a:lstStyle/>
          <a:p>
            <a:r>
              <a:rPr lang="en-US" dirty="0"/>
              <a:t>Upshot is High Variation of Latency</a:t>
            </a:r>
          </a:p>
        </p:txBody>
      </p:sp>
      <p:sp>
        <p:nvSpPr>
          <p:cNvPr id="3" name="Foliennummernplatzhalter 2">
            <a:extLst>
              <a:ext uri="{FF2B5EF4-FFF2-40B4-BE49-F238E27FC236}">
                <a16:creationId xmlns:a16="http://schemas.microsoft.com/office/drawing/2014/main" id="{591857F5-47F2-477F-AB1A-992A0D38FA46}"/>
              </a:ext>
            </a:extLst>
          </p:cNvPr>
          <p:cNvSpPr>
            <a:spLocks noGrp="1"/>
          </p:cNvSpPr>
          <p:nvPr>
            <p:ph type="sldNum" sz="quarter" idx="4294967295"/>
          </p:nvPr>
        </p:nvSpPr>
        <p:spPr>
          <a:xfrm>
            <a:off x="7289800" y="5368925"/>
            <a:ext cx="1854200" cy="223838"/>
          </a:xfrm>
        </p:spPr>
        <p:txBody>
          <a:bodyPr/>
          <a:lstStyle/>
          <a:p>
            <a:fld id="{97F98C0B-273E-428A-ABCF-EBED2BA25188}" type="slidenum">
              <a:rPr lang="en-US" smtClean="0"/>
              <a:t>15</a:t>
            </a:fld>
            <a:endParaRPr lang="en-US"/>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000" y="2438275"/>
            <a:ext cx="3604459" cy="2425826"/>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088628" y="2577502"/>
            <a:ext cx="3882403" cy="1974618"/>
          </a:xfrm>
          <a:prstGeom prst="rect">
            <a:avLst/>
          </a:prstGeom>
        </p:spPr>
      </p:pic>
      <p:sp>
        <p:nvSpPr>
          <p:cNvPr id="5" name="TextBox 4"/>
          <p:cNvSpPr txBox="1"/>
          <p:nvPr/>
        </p:nvSpPr>
        <p:spPr>
          <a:xfrm>
            <a:off x="5088628" y="4494943"/>
            <a:ext cx="4039119" cy="740587"/>
          </a:xfrm>
          <a:prstGeom prst="rect">
            <a:avLst/>
          </a:prstGeom>
          <a:noFill/>
        </p:spPr>
        <p:txBody>
          <a:bodyPr wrap="none" rtlCol="0">
            <a:spAutoFit/>
          </a:bodyPr>
          <a:lstStyle/>
          <a:p>
            <a:r>
              <a:rPr lang="en-AU" dirty="0"/>
              <a:t>N.B.: 11 “confirmation blocks” add a large</a:t>
            </a:r>
          </a:p>
          <a:p>
            <a:r>
              <a:rPr lang="en-AU" dirty="0"/>
              <a:t>“constant”-</a:t>
            </a:r>
            <a:r>
              <a:rPr lang="en-AU" dirty="0" err="1"/>
              <a:t>ish</a:t>
            </a:r>
            <a:r>
              <a:rPr lang="en-AU" dirty="0"/>
              <a:t> factor on the main cause of difference</a:t>
            </a:r>
          </a:p>
          <a:p>
            <a:r>
              <a:rPr lang="en-AU" dirty="0"/>
              <a:t>in latency variation</a:t>
            </a:r>
          </a:p>
        </p:txBody>
      </p:sp>
    </p:spTree>
    <p:extLst>
      <p:ext uri="{BB962C8B-B14F-4D97-AF65-F5344CB8AC3E}">
        <p14:creationId xmlns:p14="http://schemas.microsoft.com/office/powerpoint/2010/main" val="2968126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Straight Connector 38"/>
          <p:cNvCxnSpPr>
            <a:stCxn id="8" idx="4"/>
            <a:endCxn id="14" idx="0"/>
          </p:cNvCxnSpPr>
          <p:nvPr/>
        </p:nvCxnSpPr>
        <p:spPr>
          <a:xfrm flipH="1">
            <a:off x="2353785" y="2486812"/>
            <a:ext cx="4114" cy="1596169"/>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0" idx="2"/>
            <a:endCxn id="57" idx="0"/>
          </p:cNvCxnSpPr>
          <p:nvPr/>
        </p:nvCxnSpPr>
        <p:spPr>
          <a:xfrm flipH="1">
            <a:off x="4015478" y="2621195"/>
            <a:ext cx="1" cy="1461786"/>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37" idx="2"/>
            <a:endCxn id="29" idx="0"/>
          </p:cNvCxnSpPr>
          <p:nvPr/>
        </p:nvCxnSpPr>
        <p:spPr>
          <a:xfrm flipH="1">
            <a:off x="1316827" y="2624745"/>
            <a:ext cx="16232" cy="703398"/>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48000" y="330863"/>
            <a:ext cx="6631640" cy="648000"/>
          </a:xfrm>
        </p:spPr>
        <p:txBody>
          <a:bodyPr>
            <a:noAutofit/>
          </a:bodyPr>
          <a:lstStyle/>
          <a:p>
            <a:r>
              <a:rPr lang="en-AU" sz="2800" dirty="0"/>
              <a:t>An Aside: Transaction Inclusion with Proof of Authority in Private Blockchain</a:t>
            </a:r>
          </a:p>
        </p:txBody>
      </p:sp>
      <p:sp>
        <p:nvSpPr>
          <p:cNvPr id="4" name="Foliennummernplatzhalter 3">
            <a:extLst>
              <a:ext uri="{FF2B5EF4-FFF2-40B4-BE49-F238E27FC236}">
                <a16:creationId xmlns:a16="http://schemas.microsoft.com/office/drawing/2014/main" id="{9FBAE0D1-ED3F-4BE3-9A84-0ADBAFA2F570}"/>
              </a:ext>
            </a:extLst>
          </p:cNvPr>
          <p:cNvSpPr>
            <a:spLocks noGrp="1"/>
          </p:cNvSpPr>
          <p:nvPr>
            <p:ph type="sldNum" sz="quarter" idx="4"/>
          </p:nvPr>
        </p:nvSpPr>
        <p:spPr/>
        <p:txBody>
          <a:bodyPr/>
          <a:lstStyle/>
          <a:p>
            <a:fld id="{97F98C0B-273E-428A-ABCF-EBED2BA25188}" type="slidenum">
              <a:rPr lang="en-US" smtClean="0"/>
              <a:t>16</a:t>
            </a:fld>
            <a:endParaRPr lang="en-US"/>
          </a:p>
        </p:txBody>
      </p:sp>
      <p:cxnSp>
        <p:nvCxnSpPr>
          <p:cNvPr id="7" name="Straight Connector 6"/>
          <p:cNvCxnSpPr/>
          <p:nvPr/>
        </p:nvCxnSpPr>
        <p:spPr>
          <a:xfrm>
            <a:off x="983226" y="2787445"/>
            <a:ext cx="6951406" cy="0"/>
          </a:xfrm>
          <a:prstGeom prst="line">
            <a:avLst/>
          </a:prstGeom>
          <a:ln w="762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Oval 7"/>
          <p:cNvSpPr/>
          <p:nvPr/>
        </p:nvSpPr>
        <p:spPr>
          <a:xfrm>
            <a:off x="2225163" y="2221341"/>
            <a:ext cx="265471" cy="26547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Isosceles Triangle 10"/>
          <p:cNvSpPr/>
          <p:nvPr/>
        </p:nvSpPr>
        <p:spPr>
          <a:xfrm>
            <a:off x="1202781" y="2849365"/>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TextBox 13"/>
          <p:cNvSpPr txBox="1"/>
          <p:nvPr/>
        </p:nvSpPr>
        <p:spPr>
          <a:xfrm>
            <a:off x="1949432" y="4082981"/>
            <a:ext cx="808705" cy="524503"/>
          </a:xfrm>
          <a:prstGeom prst="rect">
            <a:avLst/>
          </a:prstGeom>
          <a:noFill/>
        </p:spPr>
        <p:txBody>
          <a:bodyPr wrap="square" rtlCol="0">
            <a:spAutoFit/>
          </a:bodyPr>
          <a:lstStyle/>
          <a:p>
            <a:pPr algn="ctr"/>
            <a:r>
              <a:rPr lang="en-AU" dirty="0"/>
              <a:t>t1</a:t>
            </a:r>
          </a:p>
          <a:p>
            <a:pPr algn="ctr"/>
            <a:r>
              <a:rPr lang="en-AU" dirty="0"/>
              <a:t>Tx sent</a:t>
            </a:r>
          </a:p>
        </p:txBody>
      </p:sp>
      <p:sp>
        <p:nvSpPr>
          <p:cNvPr id="19" name="TextBox 18"/>
          <p:cNvSpPr txBox="1"/>
          <p:nvPr/>
        </p:nvSpPr>
        <p:spPr>
          <a:xfrm>
            <a:off x="2084841" y="4986963"/>
            <a:ext cx="2191366" cy="308418"/>
          </a:xfrm>
          <a:prstGeom prst="rect">
            <a:avLst/>
          </a:prstGeom>
          <a:noFill/>
        </p:spPr>
        <p:txBody>
          <a:bodyPr wrap="square" rtlCol="0">
            <a:spAutoFit/>
          </a:bodyPr>
          <a:lstStyle/>
          <a:p>
            <a:pPr algn="ctr"/>
            <a:r>
              <a:rPr lang="en-AU" i="1" dirty="0" err="1"/>
              <a:t>interblock</a:t>
            </a:r>
            <a:r>
              <a:rPr lang="en-AU" i="1" dirty="0"/>
              <a:t> time / 2</a:t>
            </a:r>
          </a:p>
        </p:txBody>
      </p:sp>
      <p:sp>
        <p:nvSpPr>
          <p:cNvPr id="20" name="Rectangle 19"/>
          <p:cNvSpPr/>
          <p:nvPr/>
        </p:nvSpPr>
        <p:spPr>
          <a:xfrm>
            <a:off x="3752466" y="2102022"/>
            <a:ext cx="526026" cy="5191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Oval 21"/>
          <p:cNvSpPr/>
          <p:nvPr/>
        </p:nvSpPr>
        <p:spPr>
          <a:xfrm>
            <a:off x="3882743" y="2242360"/>
            <a:ext cx="265471" cy="26547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Rectangle 22"/>
          <p:cNvSpPr/>
          <p:nvPr/>
        </p:nvSpPr>
        <p:spPr>
          <a:xfrm>
            <a:off x="3191132" y="2102869"/>
            <a:ext cx="526026" cy="519173"/>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Isosceles Triangle 23"/>
          <p:cNvSpPr/>
          <p:nvPr/>
        </p:nvSpPr>
        <p:spPr>
          <a:xfrm>
            <a:off x="2230079" y="2857056"/>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Isosceles Triangle 25"/>
          <p:cNvSpPr/>
          <p:nvPr/>
        </p:nvSpPr>
        <p:spPr>
          <a:xfrm>
            <a:off x="3891116" y="2863616"/>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TextBox 28"/>
          <p:cNvSpPr txBox="1"/>
          <p:nvPr/>
        </p:nvSpPr>
        <p:spPr>
          <a:xfrm>
            <a:off x="651179" y="3328143"/>
            <a:ext cx="1331296" cy="524503"/>
          </a:xfrm>
          <a:prstGeom prst="rect">
            <a:avLst/>
          </a:prstGeom>
          <a:noFill/>
        </p:spPr>
        <p:txBody>
          <a:bodyPr wrap="square" rtlCol="0">
            <a:spAutoFit/>
          </a:bodyPr>
          <a:lstStyle/>
          <a:p>
            <a:pPr algn="ctr"/>
            <a:r>
              <a:rPr lang="en-AU" dirty="0"/>
              <a:t>t0</a:t>
            </a:r>
            <a:br>
              <a:rPr lang="en-AU" dirty="0"/>
            </a:br>
            <a:r>
              <a:rPr lang="en-AU" dirty="0"/>
              <a:t>previous block</a:t>
            </a:r>
          </a:p>
        </p:txBody>
      </p:sp>
      <p:sp>
        <p:nvSpPr>
          <p:cNvPr id="3" name="Smiley Face 2"/>
          <p:cNvSpPr/>
          <p:nvPr/>
        </p:nvSpPr>
        <p:spPr>
          <a:xfrm>
            <a:off x="2133623" y="1150411"/>
            <a:ext cx="441338" cy="441338"/>
          </a:xfrm>
          <a:prstGeom prst="smileyFace">
            <a:avLst/>
          </a:prstGeom>
          <a:solidFill>
            <a:srgbClr val="FFFF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a:p>
        </p:txBody>
      </p:sp>
      <p:sp>
        <p:nvSpPr>
          <p:cNvPr id="30" name="Smiley Face 29"/>
          <p:cNvSpPr/>
          <p:nvPr/>
        </p:nvSpPr>
        <p:spPr>
          <a:xfrm>
            <a:off x="3802815" y="1155694"/>
            <a:ext cx="441338" cy="441338"/>
          </a:xfrm>
          <a:prstGeom prst="smileyFace">
            <a:avLst/>
          </a:prstGeom>
          <a:solidFill>
            <a:srgbClr val="FFC0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a:p>
        </p:txBody>
      </p:sp>
      <p:cxnSp>
        <p:nvCxnSpPr>
          <p:cNvPr id="5" name="Straight Arrow Connector 4"/>
          <p:cNvCxnSpPr>
            <a:stCxn id="3" idx="4"/>
            <a:endCxn id="8" idx="0"/>
          </p:cNvCxnSpPr>
          <p:nvPr/>
        </p:nvCxnSpPr>
        <p:spPr>
          <a:xfrm>
            <a:off x="2354292" y="1591749"/>
            <a:ext cx="3607" cy="629592"/>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20" idx="0"/>
            <a:endCxn id="30" idx="4"/>
          </p:cNvCxnSpPr>
          <p:nvPr/>
        </p:nvCxnSpPr>
        <p:spPr>
          <a:xfrm flipV="1">
            <a:off x="4015479" y="1597032"/>
            <a:ext cx="8005" cy="504990"/>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6" name="Left Brace 65"/>
          <p:cNvSpPr/>
          <p:nvPr/>
        </p:nvSpPr>
        <p:spPr>
          <a:xfrm rot="16200000">
            <a:off x="3104653" y="4091988"/>
            <a:ext cx="175098" cy="1653467"/>
          </a:xfrm>
          <a:prstGeom prst="leftBrace">
            <a:avLst>
              <a:gd name="adj1" fmla="val 3055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73" name="TextBox 72"/>
          <p:cNvSpPr txBox="1"/>
          <p:nvPr/>
        </p:nvSpPr>
        <p:spPr>
          <a:xfrm>
            <a:off x="39841" y="2579696"/>
            <a:ext cx="1002970" cy="430887"/>
          </a:xfrm>
          <a:prstGeom prst="rect">
            <a:avLst/>
          </a:prstGeom>
          <a:noFill/>
        </p:spPr>
        <p:txBody>
          <a:bodyPr wrap="square" rtlCol="0">
            <a:spAutoFit/>
          </a:bodyPr>
          <a:lstStyle/>
          <a:p>
            <a:r>
              <a:rPr lang="en-AU" sz="1100" i="1" dirty="0"/>
              <a:t>Timeline</a:t>
            </a:r>
          </a:p>
          <a:p>
            <a:r>
              <a:rPr lang="en-AU" sz="1100" i="1" dirty="0"/>
              <a:t>(not to scale)</a:t>
            </a:r>
          </a:p>
        </p:txBody>
      </p:sp>
      <p:sp>
        <p:nvSpPr>
          <p:cNvPr id="37" name="Rectangle 36"/>
          <p:cNvSpPr/>
          <p:nvPr/>
        </p:nvSpPr>
        <p:spPr>
          <a:xfrm>
            <a:off x="1070046" y="2105572"/>
            <a:ext cx="526026" cy="5191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 name="Oval 42"/>
          <p:cNvSpPr/>
          <p:nvPr/>
        </p:nvSpPr>
        <p:spPr>
          <a:xfrm>
            <a:off x="3321410" y="2237093"/>
            <a:ext cx="265471" cy="26547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TextBox 44"/>
          <p:cNvSpPr txBox="1"/>
          <p:nvPr/>
        </p:nvSpPr>
        <p:spPr>
          <a:xfrm>
            <a:off x="2718911" y="3328142"/>
            <a:ext cx="1470468" cy="956672"/>
          </a:xfrm>
          <a:prstGeom prst="rect">
            <a:avLst/>
          </a:prstGeom>
          <a:noFill/>
        </p:spPr>
        <p:txBody>
          <a:bodyPr wrap="square" rtlCol="0">
            <a:spAutoFit/>
          </a:bodyPr>
          <a:lstStyle/>
          <a:p>
            <a:pPr algn="ctr"/>
            <a:r>
              <a:rPr lang="en-AU" dirty="0"/>
              <a:t>t2</a:t>
            </a:r>
          </a:p>
          <a:p>
            <a:pPr algn="ctr"/>
            <a:r>
              <a:rPr lang="en-AU" dirty="0"/>
              <a:t>“miner” includes</a:t>
            </a:r>
            <a:br>
              <a:rPr lang="en-AU" dirty="0"/>
            </a:br>
            <a:r>
              <a:rPr lang="en-AU" dirty="0"/>
              <a:t>Tx in candidate block</a:t>
            </a:r>
          </a:p>
        </p:txBody>
      </p:sp>
      <p:cxnSp>
        <p:nvCxnSpPr>
          <p:cNvPr id="46" name="Straight Connector 45"/>
          <p:cNvCxnSpPr>
            <a:stCxn id="23" idx="2"/>
            <a:endCxn id="45" idx="0"/>
          </p:cNvCxnSpPr>
          <p:nvPr/>
        </p:nvCxnSpPr>
        <p:spPr>
          <a:xfrm>
            <a:off x="3454145" y="2622042"/>
            <a:ext cx="0" cy="70610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44" name="Isosceles Triangle 43"/>
          <p:cNvSpPr/>
          <p:nvPr/>
        </p:nvSpPr>
        <p:spPr>
          <a:xfrm>
            <a:off x="3323867" y="2849364"/>
            <a:ext cx="260555" cy="20156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 name="TextBox 56"/>
          <p:cNvSpPr txBox="1"/>
          <p:nvPr/>
        </p:nvSpPr>
        <p:spPr>
          <a:xfrm>
            <a:off x="3330344" y="4082981"/>
            <a:ext cx="1370268" cy="740587"/>
          </a:xfrm>
          <a:prstGeom prst="rect">
            <a:avLst/>
          </a:prstGeom>
          <a:noFill/>
        </p:spPr>
        <p:txBody>
          <a:bodyPr wrap="square" rtlCol="0">
            <a:spAutoFit/>
          </a:bodyPr>
          <a:lstStyle/>
          <a:p>
            <a:pPr algn="ctr"/>
            <a:r>
              <a:rPr lang="en-AU" dirty="0"/>
              <a:t>t3</a:t>
            </a:r>
          </a:p>
          <a:p>
            <a:pPr algn="ctr"/>
            <a:r>
              <a:rPr lang="en-AU" dirty="0"/>
              <a:t>Tx is observed</a:t>
            </a:r>
            <a:br>
              <a:rPr lang="en-AU" dirty="0"/>
            </a:br>
            <a:r>
              <a:rPr lang="en-AU" dirty="0"/>
              <a:t>in new block</a:t>
            </a:r>
          </a:p>
        </p:txBody>
      </p:sp>
      <p:sp>
        <p:nvSpPr>
          <p:cNvPr id="60" name="TextBox 59"/>
          <p:cNvSpPr txBox="1"/>
          <p:nvPr/>
        </p:nvSpPr>
        <p:spPr>
          <a:xfrm>
            <a:off x="5236723" y="3005326"/>
            <a:ext cx="3331277" cy="2253181"/>
          </a:xfrm>
          <a:prstGeom prst="rect">
            <a:avLst/>
          </a:prstGeom>
          <a:noFill/>
        </p:spPr>
        <p:txBody>
          <a:bodyPr wrap="square" rtlCol="0">
            <a:spAutoFit/>
          </a:bodyPr>
          <a:lstStyle/>
          <a:p>
            <a:r>
              <a:rPr lang="en-AU" dirty="0"/>
              <a:t>Assuming transaction arrives before the small window near end of </a:t>
            </a:r>
            <a:r>
              <a:rPr lang="en-AU" dirty="0" err="1"/>
              <a:t>interblock</a:t>
            </a:r>
            <a:r>
              <a:rPr lang="en-AU" dirty="0"/>
              <a:t> time where the next block is constructed by the Authority, i.e. t1 &lt; t2</a:t>
            </a:r>
          </a:p>
          <a:p>
            <a:endParaRPr lang="en-AU" dirty="0"/>
          </a:p>
          <a:p>
            <a:r>
              <a:rPr lang="en-AU" dirty="0"/>
              <a:t>This can be tricky because </a:t>
            </a:r>
            <a:r>
              <a:rPr lang="en-AU" dirty="0" err="1"/>
              <a:t>interblock</a:t>
            </a:r>
            <a:r>
              <a:rPr lang="en-AU" dirty="0"/>
              <a:t> time tends to be much smaller in private blockchains, but tends to have much lower transaction latency anyway</a:t>
            </a:r>
          </a:p>
          <a:p>
            <a:r>
              <a:rPr lang="en-AU" dirty="0"/>
              <a:t>(no or few confirmation blocks)</a:t>
            </a:r>
          </a:p>
        </p:txBody>
      </p:sp>
      <p:cxnSp>
        <p:nvCxnSpPr>
          <p:cNvPr id="62" name="Straight Connector 61"/>
          <p:cNvCxnSpPr>
            <a:cxnSpLocks/>
            <a:endCxn id="60" idx="1"/>
          </p:cNvCxnSpPr>
          <p:nvPr/>
        </p:nvCxnSpPr>
        <p:spPr>
          <a:xfrm>
            <a:off x="3717158" y="3169529"/>
            <a:ext cx="1519565" cy="116322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5239961" y="3167974"/>
            <a:ext cx="0" cy="187419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3009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66" grpId="0" animBg="1"/>
      <p:bldP spid="6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7999" y="300413"/>
            <a:ext cx="7919999" cy="648000"/>
          </a:xfrm>
        </p:spPr>
        <p:txBody>
          <a:bodyPr>
            <a:noAutofit/>
          </a:bodyPr>
          <a:lstStyle/>
          <a:p>
            <a:r>
              <a:rPr lang="en-AU" sz="2800" dirty="0"/>
              <a:t>In Public Blockchains, Wait for Confirmation Blocks</a:t>
            </a:r>
          </a:p>
        </p:txBody>
      </p:sp>
      <p:sp>
        <p:nvSpPr>
          <p:cNvPr id="3" name="Content Placeholder 2"/>
          <p:cNvSpPr>
            <a:spLocks noGrp="1"/>
          </p:cNvSpPr>
          <p:nvPr>
            <p:ph idx="1"/>
          </p:nvPr>
        </p:nvSpPr>
        <p:spPr>
          <a:xfrm>
            <a:off x="648000" y="1295999"/>
            <a:ext cx="7920000" cy="3933872"/>
          </a:xfrm>
        </p:spPr>
        <p:txBody>
          <a:bodyPr>
            <a:normAutofit fontScale="92500" lnSpcReduction="20000"/>
          </a:bodyPr>
          <a:lstStyle/>
          <a:p>
            <a:r>
              <a:rPr lang="en-AU" dirty="0" err="1"/>
              <a:t>Nakamoto</a:t>
            </a:r>
            <a:r>
              <a:rPr lang="en-AU" dirty="0"/>
              <a:t> consensus can create “uncle” blocks</a:t>
            </a:r>
          </a:p>
          <a:p>
            <a:pPr lvl="1"/>
            <a:r>
              <a:rPr lang="en-AU" dirty="0"/>
              <a:t>Blockchains using Proof-of-Work, Proof-of-Stake, …</a:t>
            </a:r>
          </a:p>
          <a:p>
            <a:pPr lvl="1"/>
            <a:r>
              <a:rPr lang="en-AU" dirty="0"/>
              <a:t>Transaction you saw in a block turns out not to have been officially included in the blockchain (not in main chain, only in uncle block)</a:t>
            </a:r>
          </a:p>
          <a:p>
            <a:pPr lvl="1"/>
            <a:r>
              <a:rPr lang="en-AU" dirty="0"/>
              <a:t>Only probabilistic, long-run, transaction commit</a:t>
            </a:r>
          </a:p>
          <a:p>
            <a:pPr lvl="1"/>
            <a:endParaRPr lang="en-AU" dirty="0"/>
          </a:p>
          <a:p>
            <a:r>
              <a:rPr lang="en-AU" dirty="0"/>
              <a:t>Can increase confidence your transaction is </a:t>
            </a:r>
            <a:br>
              <a:rPr lang="en-AU" dirty="0"/>
            </a:br>
            <a:r>
              <a:rPr lang="en-AU" dirty="0"/>
              <a:t>really included, by waiting for subsequent </a:t>
            </a:r>
            <a:br>
              <a:rPr lang="en-AU" dirty="0"/>
            </a:br>
            <a:r>
              <a:rPr lang="en-AU" dirty="0"/>
              <a:t>“confirmation blocks”</a:t>
            </a:r>
          </a:p>
          <a:p>
            <a:pPr lvl="1"/>
            <a:r>
              <a:rPr lang="en-AU" dirty="0"/>
              <a:t>For Bitcoin, often people say wait 6 blocks</a:t>
            </a:r>
          </a:p>
          <a:p>
            <a:pPr lvl="1"/>
            <a:r>
              <a:rPr lang="en-AU" dirty="0"/>
              <a:t>For Ethereum, often people say wait 12 blocks</a:t>
            </a:r>
          </a:p>
          <a:p>
            <a:pPr lvl="2"/>
            <a:r>
              <a:rPr lang="en-AU" dirty="0"/>
              <a:t>(Lower </a:t>
            </a:r>
            <a:r>
              <a:rPr lang="en-AU" dirty="0" err="1"/>
              <a:t>interblock</a:t>
            </a:r>
            <a:r>
              <a:rPr lang="en-AU" dirty="0"/>
              <a:t> time can increase likelihood </a:t>
            </a:r>
            <a:br>
              <a:rPr lang="en-AU" dirty="0"/>
            </a:br>
            <a:r>
              <a:rPr lang="en-AU" dirty="0"/>
              <a:t>of uncles)</a:t>
            </a:r>
          </a:p>
          <a:p>
            <a:pPr lvl="1"/>
            <a:endParaRPr lang="en-AU" dirty="0"/>
          </a:p>
          <a:p>
            <a:r>
              <a:rPr lang="en-AU" dirty="0"/>
              <a:t>Waiting for confirmation blocks increases latency, and increases latency variability</a:t>
            </a:r>
          </a:p>
          <a:p>
            <a:pPr lvl="1"/>
            <a:r>
              <a:rPr lang="en-AU" dirty="0"/>
              <a:t>But increases confidence in finality</a:t>
            </a:r>
          </a:p>
        </p:txBody>
      </p:sp>
      <p:sp>
        <p:nvSpPr>
          <p:cNvPr id="4" name="Foliennummernplatzhalter 3">
            <a:extLst>
              <a:ext uri="{FF2B5EF4-FFF2-40B4-BE49-F238E27FC236}">
                <a16:creationId xmlns:a16="http://schemas.microsoft.com/office/drawing/2014/main" id="{47DB35D0-4837-460A-AACD-D6B2CAAA7262}"/>
              </a:ext>
            </a:extLst>
          </p:cNvPr>
          <p:cNvSpPr>
            <a:spLocks noGrp="1"/>
          </p:cNvSpPr>
          <p:nvPr>
            <p:ph type="sldNum" sz="quarter" idx="4"/>
          </p:nvPr>
        </p:nvSpPr>
        <p:spPr/>
        <p:txBody>
          <a:bodyPr/>
          <a:lstStyle/>
          <a:p>
            <a:fld id="{97F98C0B-273E-428A-ABCF-EBED2BA25188}" type="slidenum">
              <a:rPr lang="en-US" smtClean="0"/>
              <a:t>17</a:t>
            </a:fld>
            <a:endParaRPr lang="en-US"/>
          </a:p>
        </p:txBody>
      </p:sp>
      <p:pic>
        <p:nvPicPr>
          <p:cNvPr id="6" name="Picture 5"/>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125325" y="2230143"/>
            <a:ext cx="4018675" cy="2045046"/>
          </a:xfrm>
          <a:prstGeom prst="rect">
            <a:avLst/>
          </a:prstGeom>
        </p:spPr>
      </p:pic>
    </p:spTree>
    <p:extLst>
      <p:ext uri="{BB962C8B-B14F-4D97-AF65-F5344CB8AC3E}">
        <p14:creationId xmlns:p14="http://schemas.microsoft.com/office/powerpoint/2010/main" val="3780596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p:txBody>
          <a:bodyPr/>
          <a:lstStyle/>
          <a:p>
            <a:r>
              <a:rPr lang="en-AU" dirty="0"/>
              <a:t>Should be risk-based: how much confidence vs. how much latency?</a:t>
            </a:r>
          </a:p>
          <a:p>
            <a:endParaRPr lang="en-AU" dirty="0"/>
          </a:p>
        </p:txBody>
      </p:sp>
      <p:sp>
        <p:nvSpPr>
          <p:cNvPr id="2" name="Title 1"/>
          <p:cNvSpPr>
            <a:spLocks noGrp="1"/>
          </p:cNvSpPr>
          <p:nvPr>
            <p:ph type="title"/>
          </p:nvPr>
        </p:nvSpPr>
        <p:spPr>
          <a:xfrm>
            <a:off x="648000" y="326725"/>
            <a:ext cx="6631640" cy="648000"/>
          </a:xfrm>
        </p:spPr>
        <p:txBody>
          <a:bodyPr>
            <a:noAutofit/>
          </a:bodyPr>
          <a:lstStyle/>
          <a:p>
            <a:r>
              <a:rPr lang="en-AU" sz="2800" dirty="0"/>
              <a:t>Confirmations: </a:t>
            </a:r>
            <a:br>
              <a:rPr lang="en-AU" sz="2800" dirty="0"/>
            </a:br>
            <a:r>
              <a:rPr lang="en-AU" sz="2800" dirty="0"/>
              <a:t>Inclusion Confidence vs. Latency</a:t>
            </a:r>
          </a:p>
        </p:txBody>
      </p:sp>
      <p:sp>
        <p:nvSpPr>
          <p:cNvPr id="3" name="Foliennummernplatzhalter 2">
            <a:extLst>
              <a:ext uri="{FF2B5EF4-FFF2-40B4-BE49-F238E27FC236}">
                <a16:creationId xmlns:a16="http://schemas.microsoft.com/office/drawing/2014/main" id="{D6F02212-A730-4624-A0BC-1F5DF7A43581}"/>
              </a:ext>
            </a:extLst>
          </p:cNvPr>
          <p:cNvSpPr>
            <a:spLocks noGrp="1"/>
          </p:cNvSpPr>
          <p:nvPr>
            <p:ph type="sldNum" sz="quarter" idx="4294967295"/>
          </p:nvPr>
        </p:nvSpPr>
        <p:spPr>
          <a:xfrm>
            <a:off x="7289800" y="5368925"/>
            <a:ext cx="1854200" cy="223838"/>
          </a:xfrm>
        </p:spPr>
        <p:txBody>
          <a:bodyPr/>
          <a:lstStyle/>
          <a:p>
            <a:fld id="{97F98C0B-273E-428A-ABCF-EBED2BA25188}" type="slidenum">
              <a:rPr lang="en-US" smtClean="0"/>
              <a:t>18</a:t>
            </a:fld>
            <a:endParaRPr lang="en-US"/>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54377" y="1556586"/>
            <a:ext cx="2937455" cy="3269415"/>
          </a:xfrm>
          <a:prstGeom prst="rect">
            <a:avLst/>
          </a:prstGeom>
        </p:spPr>
      </p:pic>
      <p:sp>
        <p:nvSpPr>
          <p:cNvPr id="11" name="TextBox 10"/>
          <p:cNvSpPr txBox="1"/>
          <p:nvPr/>
        </p:nvSpPr>
        <p:spPr>
          <a:xfrm>
            <a:off x="651255" y="4879748"/>
            <a:ext cx="2810385" cy="430887"/>
          </a:xfrm>
          <a:prstGeom prst="rect">
            <a:avLst/>
          </a:prstGeom>
          <a:noFill/>
        </p:spPr>
        <p:txBody>
          <a:bodyPr wrap="none" rtlCol="0">
            <a:spAutoFit/>
          </a:bodyPr>
          <a:lstStyle/>
          <a:p>
            <a:r>
              <a:rPr lang="en-AU" sz="1100" dirty="0"/>
              <a:t>“Analysis of </a:t>
            </a:r>
            <a:r>
              <a:rPr lang="en-AU" sz="1100" dirty="0" err="1"/>
              <a:t>hashrate</a:t>
            </a:r>
            <a:r>
              <a:rPr lang="en-AU" sz="1100" dirty="0"/>
              <a:t>-based double spending”</a:t>
            </a:r>
          </a:p>
          <a:p>
            <a:r>
              <a:rPr lang="en-AU" sz="1100" dirty="0">
                <a:hlinkClick r:id="rId3"/>
              </a:rPr>
              <a:t>https://arxiv.org/abs/1402.2009</a:t>
            </a:r>
            <a:r>
              <a:rPr lang="en-AU" sz="1100" dirty="0"/>
              <a:t> </a:t>
            </a:r>
          </a:p>
        </p:txBody>
      </p:sp>
      <p:pic>
        <p:nvPicPr>
          <p:cNvPr id="14" name="Picture 13"/>
          <p:cNvPicPr>
            <a:picLocks noChangeAspect="1"/>
          </p:cNvPicPr>
          <p:nvPr/>
        </p:nvPicPr>
        <p:blipFill>
          <a:blip r:embed="rId4"/>
          <a:stretch>
            <a:fillRect/>
          </a:stretch>
        </p:blipFill>
        <p:spPr>
          <a:xfrm>
            <a:off x="3768921" y="4554966"/>
            <a:ext cx="271035" cy="271035"/>
          </a:xfrm>
          <a:prstGeom prst="rect">
            <a:avLst/>
          </a:prstGeom>
        </p:spPr>
      </p:pic>
    </p:spTree>
    <p:extLst>
      <p:ext uri="{BB962C8B-B14F-4D97-AF65-F5344CB8AC3E}">
        <p14:creationId xmlns:p14="http://schemas.microsoft.com/office/powerpoint/2010/main" val="3722016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p:txBody>
          <a:bodyPr/>
          <a:lstStyle/>
          <a:p>
            <a:r>
              <a:rPr lang="en-AU" dirty="0"/>
              <a:t>Should be risk-based: how much confidence vs. how much latency?</a:t>
            </a:r>
          </a:p>
          <a:p>
            <a:endParaRPr lang="en-AU" dirty="0"/>
          </a:p>
        </p:txBody>
      </p:sp>
      <p:sp>
        <p:nvSpPr>
          <p:cNvPr id="2" name="Title 1"/>
          <p:cNvSpPr>
            <a:spLocks noGrp="1"/>
          </p:cNvSpPr>
          <p:nvPr>
            <p:ph type="title"/>
          </p:nvPr>
        </p:nvSpPr>
        <p:spPr>
          <a:xfrm>
            <a:off x="648000" y="326725"/>
            <a:ext cx="6631640" cy="648000"/>
          </a:xfrm>
        </p:spPr>
        <p:txBody>
          <a:bodyPr>
            <a:noAutofit/>
          </a:bodyPr>
          <a:lstStyle/>
          <a:p>
            <a:r>
              <a:rPr lang="en-AU" sz="2800" dirty="0"/>
              <a:t>Confirmations: </a:t>
            </a:r>
            <a:br>
              <a:rPr lang="en-AU" sz="2800" dirty="0"/>
            </a:br>
            <a:r>
              <a:rPr lang="en-AU" sz="2800" dirty="0"/>
              <a:t>Inclusion Confidence vs. Latency</a:t>
            </a:r>
          </a:p>
        </p:txBody>
      </p:sp>
      <p:sp>
        <p:nvSpPr>
          <p:cNvPr id="3" name="Foliennummernplatzhalter 2">
            <a:extLst>
              <a:ext uri="{FF2B5EF4-FFF2-40B4-BE49-F238E27FC236}">
                <a16:creationId xmlns:a16="http://schemas.microsoft.com/office/drawing/2014/main" id="{D6F02212-A730-4624-A0BC-1F5DF7A43581}"/>
              </a:ext>
            </a:extLst>
          </p:cNvPr>
          <p:cNvSpPr>
            <a:spLocks noGrp="1"/>
          </p:cNvSpPr>
          <p:nvPr>
            <p:ph type="sldNum" sz="quarter" idx="4294967295"/>
          </p:nvPr>
        </p:nvSpPr>
        <p:spPr>
          <a:xfrm>
            <a:off x="7289800" y="5368925"/>
            <a:ext cx="1854200" cy="223838"/>
          </a:xfrm>
        </p:spPr>
        <p:txBody>
          <a:bodyPr/>
          <a:lstStyle/>
          <a:p>
            <a:fld id="{97F98C0B-273E-428A-ABCF-EBED2BA25188}" type="slidenum">
              <a:rPr lang="en-US" smtClean="0"/>
              <a:t>19</a:t>
            </a:fld>
            <a:endParaRPr lang="en-US"/>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988310" y="1786543"/>
            <a:ext cx="3912781" cy="2059679"/>
          </a:xfrm>
          <a:prstGeom prst="rect">
            <a:avLst/>
          </a:prstGeom>
        </p:spPr>
      </p:pic>
      <p:sp>
        <p:nvSpPr>
          <p:cNvPr id="9" name="Rectangle 8"/>
          <p:cNvSpPr/>
          <p:nvPr/>
        </p:nvSpPr>
        <p:spPr>
          <a:xfrm>
            <a:off x="4991487" y="4416911"/>
            <a:ext cx="3716734" cy="769441"/>
          </a:xfrm>
          <a:prstGeom prst="rect">
            <a:avLst/>
          </a:prstGeom>
        </p:spPr>
        <p:txBody>
          <a:bodyPr wrap="square">
            <a:spAutoFit/>
          </a:bodyPr>
          <a:lstStyle/>
          <a:p>
            <a:r>
              <a:rPr lang="en-AU" sz="1100" dirty="0"/>
              <a:t>“On Availability for Blockchain-Based Systems”</a:t>
            </a:r>
          </a:p>
          <a:p>
            <a:r>
              <a:rPr lang="en-AU" sz="1100" dirty="0">
                <a:hlinkClick r:id="rId4"/>
              </a:rPr>
              <a:t>https://research.csiro.au/data61/wp-content/uploads/sites/85/2016/08/OnAvailabilityForBlockchain-BasedSystems-SRDS2017-authors-copy.pdf</a:t>
            </a:r>
            <a:endParaRPr lang="en-AU" sz="1100" dirty="0"/>
          </a:p>
        </p:txBody>
      </p:sp>
      <p:pic>
        <p:nvPicPr>
          <p:cNvPr id="10" name="Picture 9"/>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54377" y="1556586"/>
            <a:ext cx="2937455" cy="3269415"/>
          </a:xfrm>
          <a:prstGeom prst="rect">
            <a:avLst/>
          </a:prstGeom>
        </p:spPr>
      </p:pic>
      <p:sp>
        <p:nvSpPr>
          <p:cNvPr id="11" name="TextBox 10"/>
          <p:cNvSpPr txBox="1"/>
          <p:nvPr/>
        </p:nvSpPr>
        <p:spPr>
          <a:xfrm>
            <a:off x="651255" y="4879748"/>
            <a:ext cx="2810385" cy="430887"/>
          </a:xfrm>
          <a:prstGeom prst="rect">
            <a:avLst/>
          </a:prstGeom>
          <a:noFill/>
        </p:spPr>
        <p:txBody>
          <a:bodyPr wrap="none" rtlCol="0">
            <a:spAutoFit/>
          </a:bodyPr>
          <a:lstStyle/>
          <a:p>
            <a:r>
              <a:rPr lang="en-AU" sz="1100" dirty="0"/>
              <a:t>“Analysis of </a:t>
            </a:r>
            <a:r>
              <a:rPr lang="en-AU" sz="1100" dirty="0" err="1"/>
              <a:t>hashrate</a:t>
            </a:r>
            <a:r>
              <a:rPr lang="en-AU" sz="1100" dirty="0"/>
              <a:t>-based double spending”</a:t>
            </a:r>
          </a:p>
          <a:p>
            <a:r>
              <a:rPr lang="en-AU" sz="1100" dirty="0">
                <a:hlinkClick r:id="rId6"/>
              </a:rPr>
              <a:t>https://arxiv.org/abs/1402.2009</a:t>
            </a:r>
            <a:r>
              <a:rPr lang="en-AU" sz="1100" dirty="0"/>
              <a:t> </a:t>
            </a:r>
          </a:p>
        </p:txBody>
      </p:sp>
      <p:pic>
        <p:nvPicPr>
          <p:cNvPr id="14" name="Picture 13"/>
          <p:cNvPicPr>
            <a:picLocks noChangeAspect="1"/>
          </p:cNvPicPr>
          <p:nvPr/>
        </p:nvPicPr>
        <p:blipFill>
          <a:blip r:embed="rId7"/>
          <a:stretch>
            <a:fillRect/>
          </a:stretch>
        </p:blipFill>
        <p:spPr>
          <a:xfrm>
            <a:off x="3768921" y="4554966"/>
            <a:ext cx="271035" cy="271035"/>
          </a:xfrm>
          <a:prstGeom prst="rect">
            <a:avLst/>
          </a:prstGeom>
        </p:spPr>
      </p:pic>
      <p:pic>
        <p:nvPicPr>
          <p:cNvPr id="15" name="Picture 14"/>
          <p:cNvPicPr>
            <a:picLocks noChangeAspect="1"/>
          </p:cNvPicPr>
          <p:nvPr/>
        </p:nvPicPr>
        <p:blipFill>
          <a:blip r:embed="rId8">
            <a:clrChange>
              <a:clrFrom>
                <a:srgbClr val="FFFFFF"/>
              </a:clrFrom>
              <a:clrTo>
                <a:srgbClr val="FFFFFF">
                  <a:alpha val="0"/>
                </a:srgbClr>
              </a:clrTo>
            </a:clrChange>
          </a:blip>
          <a:stretch>
            <a:fillRect/>
          </a:stretch>
        </p:blipFill>
        <p:spPr>
          <a:xfrm>
            <a:off x="8746735" y="3307844"/>
            <a:ext cx="397265" cy="459177"/>
          </a:xfrm>
          <a:prstGeom prst="rect">
            <a:avLst/>
          </a:prstGeom>
        </p:spPr>
      </p:pic>
      <p:cxnSp>
        <p:nvCxnSpPr>
          <p:cNvPr id="5" name="Straight Connector 4">
            <a:extLst>
              <a:ext uri="{FF2B5EF4-FFF2-40B4-BE49-F238E27FC236}">
                <a16:creationId xmlns:a16="http://schemas.microsoft.com/office/drawing/2014/main" id="{85C4014F-7DC4-4530-B6A2-ECB6B26AC41B}"/>
              </a:ext>
            </a:extLst>
          </p:cNvPr>
          <p:cNvCxnSpPr>
            <a:cxnSpLocks/>
          </p:cNvCxnSpPr>
          <p:nvPr/>
        </p:nvCxnSpPr>
        <p:spPr>
          <a:xfrm flipV="1">
            <a:off x="1166791" y="3984467"/>
            <a:ext cx="194465" cy="196889"/>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1B24BB5-5227-48BB-B103-8FF2951A8BDC}"/>
              </a:ext>
            </a:extLst>
          </p:cNvPr>
          <p:cNvSpPr txBox="1"/>
          <p:nvPr/>
        </p:nvSpPr>
        <p:spPr>
          <a:xfrm>
            <a:off x="1307464" y="3750469"/>
            <a:ext cx="897849" cy="430887"/>
          </a:xfrm>
          <a:prstGeom prst="rect">
            <a:avLst/>
          </a:prstGeom>
          <a:noFill/>
        </p:spPr>
        <p:txBody>
          <a:bodyPr wrap="square" rtlCol="0">
            <a:spAutoFit/>
          </a:bodyPr>
          <a:lstStyle/>
          <a:p>
            <a:r>
              <a:rPr lang="de-DE" sz="1100" dirty="0"/>
              <a:t>0.1 </a:t>
            </a:r>
            <a:r>
              <a:rPr lang="de-DE" sz="1100" dirty="0">
                <a:sym typeface="Wingdings" panose="05000000000000000000" pitchFamily="2" charset="2"/>
              </a:rPr>
              <a:t> 10% of </a:t>
            </a:r>
            <a:r>
              <a:rPr lang="de-DE" sz="1100" dirty="0" err="1">
                <a:sym typeface="Wingdings" panose="05000000000000000000" pitchFamily="2" charset="2"/>
              </a:rPr>
              <a:t>hashrate</a:t>
            </a:r>
            <a:endParaRPr lang="en-US" sz="1100" dirty="0"/>
          </a:p>
        </p:txBody>
      </p:sp>
      <p:cxnSp>
        <p:nvCxnSpPr>
          <p:cNvPr id="16" name="Straight Connector 15">
            <a:extLst>
              <a:ext uri="{FF2B5EF4-FFF2-40B4-BE49-F238E27FC236}">
                <a16:creationId xmlns:a16="http://schemas.microsoft.com/office/drawing/2014/main" id="{797D75D2-7208-4C34-9102-24B050BBDF20}"/>
              </a:ext>
            </a:extLst>
          </p:cNvPr>
          <p:cNvCxnSpPr>
            <a:cxnSpLocks/>
          </p:cNvCxnSpPr>
          <p:nvPr/>
        </p:nvCxnSpPr>
        <p:spPr>
          <a:xfrm flipV="1">
            <a:off x="497581" y="3272996"/>
            <a:ext cx="516795" cy="342393"/>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664D15C-3CFF-4686-9AC1-F9C6860F56D4}"/>
              </a:ext>
            </a:extLst>
          </p:cNvPr>
          <p:cNvSpPr txBox="1"/>
          <p:nvPr/>
        </p:nvSpPr>
        <p:spPr>
          <a:xfrm>
            <a:off x="-69662" y="3607113"/>
            <a:ext cx="993544" cy="769441"/>
          </a:xfrm>
          <a:prstGeom prst="rect">
            <a:avLst/>
          </a:prstGeom>
          <a:noFill/>
        </p:spPr>
        <p:txBody>
          <a:bodyPr wrap="square" rtlCol="0">
            <a:spAutoFit/>
          </a:bodyPr>
          <a:lstStyle/>
          <a:p>
            <a:r>
              <a:rPr lang="de-DE" sz="1100" dirty="0"/>
              <a:t>Blue </a:t>
            </a:r>
            <a:r>
              <a:rPr lang="de-DE" sz="1100" dirty="0" err="1"/>
              <a:t>line</a:t>
            </a:r>
            <a:r>
              <a:rPr lang="de-DE" sz="1100" dirty="0"/>
              <a:t>: 0.1</a:t>
            </a:r>
            <a:r>
              <a:rPr lang="de-DE" sz="1100" dirty="0">
                <a:sym typeface="Wingdings" panose="05000000000000000000" pitchFamily="2" charset="2"/>
              </a:rPr>
              <a:t>% </a:t>
            </a:r>
            <a:r>
              <a:rPr lang="de-DE" sz="1100" dirty="0" err="1">
                <a:sym typeface="Wingdings" panose="05000000000000000000" pitchFamily="2" charset="2"/>
              </a:rPr>
              <a:t>chance</a:t>
            </a:r>
            <a:r>
              <a:rPr lang="de-DE" sz="1100" dirty="0">
                <a:sym typeface="Wingdings" panose="05000000000000000000" pitchFamily="2" charset="2"/>
              </a:rPr>
              <a:t> of </a:t>
            </a:r>
            <a:r>
              <a:rPr lang="de-DE" sz="1100" dirty="0" err="1">
                <a:sym typeface="Wingdings" panose="05000000000000000000" pitchFamily="2" charset="2"/>
              </a:rPr>
              <a:t>successful</a:t>
            </a:r>
            <a:r>
              <a:rPr lang="de-DE" sz="1100" dirty="0">
                <a:sym typeface="Wingdings" panose="05000000000000000000" pitchFamily="2" charset="2"/>
              </a:rPr>
              <a:t> double-</a:t>
            </a:r>
            <a:r>
              <a:rPr lang="de-DE" sz="1100" dirty="0" err="1">
                <a:sym typeface="Wingdings" panose="05000000000000000000" pitchFamily="2" charset="2"/>
              </a:rPr>
              <a:t>spend</a:t>
            </a:r>
            <a:endParaRPr lang="en-US" sz="1100" dirty="0"/>
          </a:p>
        </p:txBody>
      </p:sp>
      <p:grpSp>
        <p:nvGrpSpPr>
          <p:cNvPr id="25" name="Group 24">
            <a:extLst>
              <a:ext uri="{FF2B5EF4-FFF2-40B4-BE49-F238E27FC236}">
                <a16:creationId xmlns:a16="http://schemas.microsoft.com/office/drawing/2014/main" id="{7291B26E-E982-457D-A501-02D826BFD28F}"/>
              </a:ext>
            </a:extLst>
          </p:cNvPr>
          <p:cNvGrpSpPr/>
          <p:nvPr/>
        </p:nvGrpSpPr>
        <p:grpSpPr>
          <a:xfrm>
            <a:off x="923882" y="2660452"/>
            <a:ext cx="242909" cy="1716103"/>
            <a:chOff x="923882" y="2660452"/>
            <a:chExt cx="242909" cy="1716103"/>
          </a:xfrm>
        </p:grpSpPr>
        <p:cxnSp>
          <p:nvCxnSpPr>
            <p:cNvPr id="18" name="Straight Connector 17">
              <a:extLst>
                <a:ext uri="{FF2B5EF4-FFF2-40B4-BE49-F238E27FC236}">
                  <a16:creationId xmlns:a16="http://schemas.microsoft.com/office/drawing/2014/main" id="{82A789CD-B459-4B83-B740-27EAC36E3E50}"/>
                </a:ext>
              </a:extLst>
            </p:cNvPr>
            <p:cNvCxnSpPr>
              <a:cxnSpLocks/>
            </p:cNvCxnSpPr>
            <p:nvPr/>
          </p:nvCxnSpPr>
          <p:spPr>
            <a:xfrm flipV="1">
              <a:off x="1166791" y="2660452"/>
              <a:ext cx="0" cy="1716103"/>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506A741-72A7-475B-BADD-4B95E2B136B8}"/>
                </a:ext>
              </a:extLst>
            </p:cNvPr>
            <p:cNvCxnSpPr>
              <a:cxnSpLocks/>
            </p:cNvCxnSpPr>
            <p:nvPr/>
          </p:nvCxnSpPr>
          <p:spPr>
            <a:xfrm>
              <a:off x="923882" y="2660452"/>
              <a:ext cx="242909"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3" name="TextBox 22">
            <a:extLst>
              <a:ext uri="{FF2B5EF4-FFF2-40B4-BE49-F238E27FC236}">
                <a16:creationId xmlns:a16="http://schemas.microsoft.com/office/drawing/2014/main" id="{40649427-80BF-4FDC-8139-297E08E30F75}"/>
              </a:ext>
            </a:extLst>
          </p:cNvPr>
          <p:cNvSpPr txBox="1"/>
          <p:nvPr/>
        </p:nvSpPr>
        <p:spPr>
          <a:xfrm>
            <a:off x="-35706" y="2439101"/>
            <a:ext cx="993544" cy="430887"/>
          </a:xfrm>
          <a:prstGeom prst="rect">
            <a:avLst/>
          </a:prstGeom>
          <a:noFill/>
        </p:spPr>
        <p:txBody>
          <a:bodyPr wrap="square" rtlCol="0">
            <a:spAutoFit/>
          </a:bodyPr>
          <a:lstStyle/>
          <a:p>
            <a:r>
              <a:rPr lang="de-DE" sz="1100" dirty="0" err="1"/>
              <a:t>confirmation</a:t>
            </a:r>
            <a:r>
              <a:rPr lang="de-DE" sz="1100" dirty="0"/>
              <a:t> </a:t>
            </a:r>
            <a:r>
              <a:rPr lang="de-DE" sz="1100" dirty="0" err="1"/>
              <a:t>blocks</a:t>
            </a:r>
            <a:r>
              <a:rPr lang="de-DE" sz="1100" dirty="0"/>
              <a:t>: 6</a:t>
            </a:r>
            <a:endParaRPr lang="en-US" sz="1100" dirty="0"/>
          </a:p>
        </p:txBody>
      </p:sp>
    </p:spTree>
    <p:extLst>
      <p:ext uri="{BB962C8B-B14F-4D97-AF65-F5344CB8AC3E}">
        <p14:creationId xmlns:p14="http://schemas.microsoft.com/office/powerpoint/2010/main" val="258315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down)">
                                      <p:cBhvr>
                                        <p:cTn id="19" dur="2000"/>
                                        <p:tgtEl>
                                          <p:spTgt spid="25"/>
                                        </p:tgtEl>
                                      </p:cBhvr>
                                    </p:animEffect>
                                  </p:childTnLst>
                                </p:cTn>
                              </p:par>
                            </p:childTnLst>
                          </p:cTn>
                        </p:par>
                        <p:par>
                          <p:cTn id="20" fill="hold">
                            <p:stCondLst>
                              <p:cond delay="2000"/>
                            </p:stCondLst>
                            <p:childTnLst>
                              <p:par>
                                <p:cTn id="21" presetID="1" presetClass="entr" presetSubtype="0" fill="hold" grpId="0" nodeType="afterEffect">
                                  <p:stCondLst>
                                    <p:cond delay="50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6" grpId="0"/>
      <p:bldP spid="17" grpId="0"/>
      <p:bldP spid="2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96F5D-C16D-434F-AACD-A99B21EB445E}"/>
              </a:ext>
            </a:extLst>
          </p:cNvPr>
          <p:cNvSpPr>
            <a:spLocks noGrp="1"/>
          </p:cNvSpPr>
          <p:nvPr>
            <p:ph type="title"/>
          </p:nvPr>
        </p:nvSpPr>
        <p:spPr/>
        <p:txBody>
          <a:bodyPr/>
          <a:lstStyle/>
          <a:p>
            <a:r>
              <a:rPr lang="en-US" dirty="0"/>
              <a:t>What will you learn this week?</a:t>
            </a:r>
            <a:endParaRPr lang="en-DE" dirty="0"/>
          </a:p>
        </p:txBody>
      </p:sp>
      <p:sp>
        <p:nvSpPr>
          <p:cNvPr id="3" name="Content Placeholder 2">
            <a:extLst>
              <a:ext uri="{FF2B5EF4-FFF2-40B4-BE49-F238E27FC236}">
                <a16:creationId xmlns:a16="http://schemas.microsoft.com/office/drawing/2014/main" id="{D6A44211-169B-4896-928E-C8B338A44D4C}"/>
              </a:ext>
            </a:extLst>
          </p:cNvPr>
          <p:cNvSpPr>
            <a:spLocks noGrp="1"/>
          </p:cNvSpPr>
          <p:nvPr>
            <p:ph idx="1"/>
          </p:nvPr>
        </p:nvSpPr>
        <p:spPr/>
        <p:txBody>
          <a:bodyPr/>
          <a:lstStyle/>
          <a:p>
            <a:r>
              <a:rPr lang="en-US" dirty="0"/>
              <a:t>Performance Overview</a:t>
            </a:r>
          </a:p>
          <a:p>
            <a:r>
              <a:rPr lang="en-US" dirty="0"/>
              <a:t>Latency</a:t>
            </a:r>
          </a:p>
          <a:p>
            <a:pPr lvl="1"/>
            <a:r>
              <a:rPr lang="en-US" dirty="0"/>
              <a:t>Transaction Inclusion in Public Blockchain</a:t>
            </a:r>
          </a:p>
          <a:p>
            <a:pPr lvl="1"/>
            <a:r>
              <a:rPr lang="en-US" dirty="0">
                <a:solidFill>
                  <a:schemeClr val="tx1">
                    <a:lumMod val="50000"/>
                    <a:lumOff val="50000"/>
                  </a:schemeClr>
                </a:solidFill>
              </a:rPr>
              <a:t>Simulating Latency</a:t>
            </a:r>
          </a:p>
          <a:p>
            <a:r>
              <a:rPr lang="en-US" dirty="0">
                <a:solidFill>
                  <a:schemeClr val="tx1">
                    <a:lumMod val="50000"/>
                    <a:lumOff val="50000"/>
                  </a:schemeClr>
                </a:solidFill>
              </a:rPr>
              <a:t>Throughput</a:t>
            </a:r>
          </a:p>
          <a:p>
            <a:endParaRPr lang="en-DE" dirty="0"/>
          </a:p>
        </p:txBody>
      </p:sp>
      <p:sp>
        <p:nvSpPr>
          <p:cNvPr id="4" name="Slide Number Placeholder 3">
            <a:extLst>
              <a:ext uri="{FF2B5EF4-FFF2-40B4-BE49-F238E27FC236}">
                <a16:creationId xmlns:a16="http://schemas.microsoft.com/office/drawing/2014/main" id="{D598D0F0-C8CE-41CB-A8CE-FE7DA2816A04}"/>
              </a:ext>
            </a:extLst>
          </p:cNvPr>
          <p:cNvSpPr>
            <a:spLocks noGrp="1"/>
          </p:cNvSpPr>
          <p:nvPr>
            <p:ph type="sldNum" sz="quarter" idx="4"/>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9795077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How can architects influence Tx latency?</a:t>
            </a:r>
          </a:p>
        </p:txBody>
      </p:sp>
      <p:sp>
        <p:nvSpPr>
          <p:cNvPr id="3" name="Foliennummernplatzhalter 2">
            <a:extLst>
              <a:ext uri="{FF2B5EF4-FFF2-40B4-BE49-F238E27FC236}">
                <a16:creationId xmlns:a16="http://schemas.microsoft.com/office/drawing/2014/main" id="{CD9D8260-3E52-4FF4-90D9-23D75F93CD34}"/>
              </a:ext>
            </a:extLst>
          </p:cNvPr>
          <p:cNvSpPr>
            <a:spLocks noGrp="1"/>
          </p:cNvSpPr>
          <p:nvPr>
            <p:ph type="sldNum" sz="quarter" idx="4"/>
          </p:nvPr>
        </p:nvSpPr>
        <p:spPr/>
        <p:txBody>
          <a:bodyPr/>
          <a:lstStyle/>
          <a:p>
            <a:fld id="{97F98C0B-273E-428A-ABCF-EBED2BA25188}" type="slidenum">
              <a:rPr lang="en-US" smtClean="0"/>
              <a:t>20</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15351070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7999" y="304551"/>
            <a:ext cx="7919999" cy="648000"/>
          </a:xfrm>
        </p:spPr>
        <p:txBody>
          <a:bodyPr>
            <a:noAutofit/>
          </a:bodyPr>
          <a:lstStyle/>
          <a:p>
            <a:r>
              <a:rPr lang="en-AU" sz="2800" dirty="0"/>
              <a:t>How Architects Can Influence Transaction Latency</a:t>
            </a:r>
          </a:p>
        </p:txBody>
      </p:sp>
      <p:sp>
        <p:nvSpPr>
          <p:cNvPr id="3" name="Content Placeholder 2"/>
          <p:cNvSpPr>
            <a:spLocks noGrp="1"/>
          </p:cNvSpPr>
          <p:nvPr>
            <p:ph idx="1"/>
          </p:nvPr>
        </p:nvSpPr>
        <p:spPr/>
        <p:txBody>
          <a:bodyPr>
            <a:normAutofit fontScale="92500" lnSpcReduction="10000"/>
          </a:bodyPr>
          <a:lstStyle/>
          <a:p>
            <a:r>
              <a:rPr lang="en-AU" dirty="0"/>
              <a:t>Offer a Transaction fee that meets/exceeds miners’ expectations</a:t>
            </a:r>
          </a:p>
          <a:p>
            <a:pPr lvl="1"/>
            <a:r>
              <a:rPr lang="en-AU" dirty="0"/>
              <a:t>Ethereum “fee” is gas price * gas used</a:t>
            </a:r>
          </a:p>
          <a:p>
            <a:pPr lvl="1"/>
            <a:r>
              <a:rPr lang="en-AU" dirty="0"/>
              <a:t>Gas price is user-defined</a:t>
            </a:r>
          </a:p>
          <a:p>
            <a:pPr lvl="1"/>
            <a:endParaRPr lang="en-AU" dirty="0"/>
          </a:p>
          <a:p>
            <a:r>
              <a:rPr lang="en-AU" dirty="0"/>
              <a:t>Choose smallest number of confirmation blocks that is “safe” for your application</a:t>
            </a:r>
          </a:p>
          <a:p>
            <a:pPr lvl="1"/>
            <a:endParaRPr lang="en-AU" dirty="0"/>
          </a:p>
          <a:p>
            <a:r>
              <a:rPr lang="en-AU" dirty="0"/>
              <a:t>Use another blockchain (private? or a public blockchain that works “better”?)</a:t>
            </a:r>
          </a:p>
          <a:p>
            <a:pPr lvl="1"/>
            <a:r>
              <a:rPr lang="en-AU" dirty="0"/>
              <a:t>Configure blockchain to use other consensus algorithms (PBFT, </a:t>
            </a:r>
            <a:r>
              <a:rPr lang="en-AU" dirty="0" err="1"/>
              <a:t>PoA</a:t>
            </a:r>
            <a:r>
              <a:rPr lang="en-AU" dirty="0"/>
              <a:t>, …)</a:t>
            </a:r>
          </a:p>
          <a:p>
            <a:pPr lvl="2"/>
            <a:r>
              <a:rPr lang="en-AU" dirty="0"/>
              <a:t>Avoid </a:t>
            </a:r>
            <a:r>
              <a:rPr lang="en-AU" dirty="0" err="1"/>
              <a:t>Nakamoto</a:t>
            </a:r>
            <a:r>
              <a:rPr lang="en-AU" dirty="0"/>
              <a:t> consensus &amp; possibility of uncles, so you can avoid confirmation blocks</a:t>
            </a:r>
          </a:p>
          <a:p>
            <a:pPr lvl="1"/>
            <a:r>
              <a:rPr lang="en-AU" dirty="0"/>
              <a:t>Configure blockchain to target a small </a:t>
            </a:r>
            <a:r>
              <a:rPr lang="en-AU" dirty="0" err="1"/>
              <a:t>interblock</a:t>
            </a:r>
            <a:r>
              <a:rPr lang="en-AU" dirty="0"/>
              <a:t> time</a:t>
            </a:r>
          </a:p>
          <a:p>
            <a:pPr lvl="1"/>
            <a:endParaRPr lang="en-AU" dirty="0"/>
          </a:p>
          <a:p>
            <a:r>
              <a:rPr lang="en-AU" dirty="0"/>
              <a:t>Work off-chain, e.g. using “state channel” design pattern, to be discussed in later lectures</a:t>
            </a:r>
          </a:p>
        </p:txBody>
      </p:sp>
      <p:sp>
        <p:nvSpPr>
          <p:cNvPr id="4" name="Foliennummernplatzhalter 3">
            <a:extLst>
              <a:ext uri="{FF2B5EF4-FFF2-40B4-BE49-F238E27FC236}">
                <a16:creationId xmlns:a16="http://schemas.microsoft.com/office/drawing/2014/main" id="{D98E95C8-067D-4340-B5AD-3EA747A10777}"/>
              </a:ext>
            </a:extLst>
          </p:cNvPr>
          <p:cNvSpPr>
            <a:spLocks noGrp="1"/>
          </p:cNvSpPr>
          <p:nvPr>
            <p:ph type="sldNum" sz="quarter" idx="4"/>
          </p:nvPr>
        </p:nvSpPr>
        <p:spPr/>
        <p:txBody>
          <a:bodyPr/>
          <a:lstStyle/>
          <a:p>
            <a:fld id="{97F98C0B-273E-428A-ABCF-EBED2BA25188}" type="slidenum">
              <a:rPr lang="en-US" smtClean="0"/>
              <a:t>21</a:t>
            </a:fld>
            <a:endParaRPr lang="en-US"/>
          </a:p>
        </p:txBody>
      </p:sp>
    </p:spTree>
    <p:extLst>
      <p:ext uri="{BB962C8B-B14F-4D97-AF65-F5344CB8AC3E}">
        <p14:creationId xmlns:p14="http://schemas.microsoft.com/office/powerpoint/2010/main" val="1248720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Performance 1: </a:t>
            </a:r>
            <a:br>
              <a:rPr lang="en-AU" sz="3200" dirty="0"/>
            </a:br>
            <a:r>
              <a:rPr lang="en-AU" sz="3200" dirty="0"/>
              <a:t>Overview &amp; Latency</a:t>
            </a:r>
            <a:endParaRPr lang="en-AU" sz="3000" noProof="0" dirty="0"/>
          </a:p>
        </p:txBody>
      </p:sp>
      <p:sp>
        <p:nvSpPr>
          <p:cNvPr id="7" name="Rectangle 3">
            <a:extLst>
              <a:ext uri="{FF2B5EF4-FFF2-40B4-BE49-F238E27FC236}">
                <a16:creationId xmlns:a16="http://schemas.microsoft.com/office/drawing/2014/main" id="{5360F4B4-400E-4AE4-B406-8D8CF5215EC1}"/>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19644486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AU" dirty="0"/>
              <a:t>Performance Overview</a:t>
            </a:r>
          </a:p>
        </p:txBody>
      </p:sp>
    </p:spTree>
    <p:extLst>
      <p:ext uri="{BB962C8B-B14F-4D97-AF65-F5344CB8AC3E}">
        <p14:creationId xmlns:p14="http://schemas.microsoft.com/office/powerpoint/2010/main" val="3407239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260792" y="1097304"/>
          <a:ext cx="8712968" cy="37604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normAutofit/>
          </a:bodyPr>
          <a:lstStyle/>
          <a:p>
            <a:r>
              <a:rPr lang="en-AU" dirty="0"/>
              <a:t>ISO/IEC 25010:2011 Quality Model</a:t>
            </a:r>
          </a:p>
        </p:txBody>
      </p:sp>
      <p:sp>
        <p:nvSpPr>
          <p:cNvPr id="3" name="Foliennummernplatzhalter 2">
            <a:extLst>
              <a:ext uri="{FF2B5EF4-FFF2-40B4-BE49-F238E27FC236}">
                <a16:creationId xmlns:a16="http://schemas.microsoft.com/office/drawing/2014/main" id="{23990E2A-8283-4CB7-BCAE-0C273C17F666}"/>
              </a:ext>
            </a:extLst>
          </p:cNvPr>
          <p:cNvSpPr>
            <a:spLocks noGrp="1"/>
          </p:cNvSpPr>
          <p:nvPr>
            <p:ph type="sldNum" sz="quarter" idx="4294967295"/>
          </p:nvPr>
        </p:nvSpPr>
        <p:spPr>
          <a:xfrm>
            <a:off x="7289800" y="5368925"/>
            <a:ext cx="1854200" cy="223838"/>
          </a:xfrm>
        </p:spPr>
        <p:txBody>
          <a:bodyPr/>
          <a:lstStyle/>
          <a:p>
            <a:fld id="{97F98C0B-273E-428A-ABCF-EBED2BA25188}" type="slidenum">
              <a:rPr lang="en-US" smtClean="0"/>
              <a:t>4</a:t>
            </a:fld>
            <a:endParaRPr lang="en-US"/>
          </a:p>
        </p:txBody>
      </p:sp>
      <p:sp>
        <p:nvSpPr>
          <p:cNvPr id="4" name="Rectangle 3"/>
          <p:cNvSpPr/>
          <p:nvPr/>
        </p:nvSpPr>
        <p:spPr>
          <a:xfrm>
            <a:off x="1254637" y="1223493"/>
            <a:ext cx="1153421" cy="2388594"/>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609338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ight Arrow 21"/>
          <p:cNvSpPr/>
          <p:nvPr/>
        </p:nvSpPr>
        <p:spPr>
          <a:xfrm rot="18900000" flipH="1">
            <a:off x="4713200" y="2458827"/>
            <a:ext cx="632608" cy="2594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Right Arrow 10"/>
          <p:cNvSpPr/>
          <p:nvPr/>
        </p:nvSpPr>
        <p:spPr>
          <a:xfrm rot="2700000">
            <a:off x="3979314" y="2441452"/>
            <a:ext cx="632608" cy="2594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lstStyle/>
          <a:p>
            <a:r>
              <a:rPr lang="en-AU" dirty="0"/>
              <a:t>Performance-Related Considerations </a:t>
            </a:r>
          </a:p>
        </p:txBody>
      </p:sp>
      <p:sp>
        <p:nvSpPr>
          <p:cNvPr id="3" name="Foliennummernplatzhalter 2">
            <a:extLst>
              <a:ext uri="{FF2B5EF4-FFF2-40B4-BE49-F238E27FC236}">
                <a16:creationId xmlns:a16="http://schemas.microsoft.com/office/drawing/2014/main" id="{62191AFF-74A4-48E0-8238-37BB4F51A3BF}"/>
              </a:ext>
            </a:extLst>
          </p:cNvPr>
          <p:cNvSpPr>
            <a:spLocks noGrp="1"/>
          </p:cNvSpPr>
          <p:nvPr>
            <p:ph type="sldNum" sz="quarter" idx="4294967295"/>
          </p:nvPr>
        </p:nvSpPr>
        <p:spPr>
          <a:xfrm>
            <a:off x="7289800" y="5368925"/>
            <a:ext cx="1854200" cy="223838"/>
          </a:xfrm>
        </p:spPr>
        <p:txBody>
          <a:bodyPr/>
          <a:lstStyle/>
          <a:p>
            <a:fld id="{97F98C0B-273E-428A-ABCF-EBED2BA25188}" type="slidenum">
              <a:rPr lang="en-US" smtClean="0"/>
              <a:t>5</a:t>
            </a:fld>
            <a:endParaRPr lang="en-US"/>
          </a:p>
        </p:txBody>
      </p:sp>
      <p:sp>
        <p:nvSpPr>
          <p:cNvPr id="6" name="Rounded Rectangle 5"/>
          <p:cNvSpPr/>
          <p:nvPr/>
        </p:nvSpPr>
        <p:spPr>
          <a:xfrm>
            <a:off x="2371274" y="1825141"/>
            <a:ext cx="1977957" cy="6920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dirty="0"/>
              <a:t>Load</a:t>
            </a:r>
          </a:p>
        </p:txBody>
      </p:sp>
      <p:sp>
        <p:nvSpPr>
          <p:cNvPr id="7" name="Rounded Rectangle 6"/>
          <p:cNvSpPr/>
          <p:nvPr/>
        </p:nvSpPr>
        <p:spPr>
          <a:xfrm>
            <a:off x="4958832" y="1825141"/>
            <a:ext cx="1977957" cy="6920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dirty="0"/>
              <a:t>Resources</a:t>
            </a:r>
          </a:p>
        </p:txBody>
      </p:sp>
      <p:sp>
        <p:nvSpPr>
          <p:cNvPr id="9" name="Rounded Rectangle 8"/>
          <p:cNvSpPr/>
          <p:nvPr/>
        </p:nvSpPr>
        <p:spPr>
          <a:xfrm>
            <a:off x="2371274" y="3610431"/>
            <a:ext cx="1977957" cy="6920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dirty="0"/>
              <a:t>Performance</a:t>
            </a:r>
          </a:p>
        </p:txBody>
      </p:sp>
      <p:sp>
        <p:nvSpPr>
          <p:cNvPr id="10" name="Rounded Rectangle 9"/>
          <p:cNvSpPr/>
          <p:nvPr/>
        </p:nvSpPr>
        <p:spPr>
          <a:xfrm>
            <a:off x="4958832" y="3610431"/>
            <a:ext cx="1977957" cy="6920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dirty="0"/>
              <a:t>Resource</a:t>
            </a:r>
            <a:br>
              <a:rPr lang="en-AU" sz="2400" dirty="0"/>
            </a:br>
            <a:r>
              <a:rPr lang="en-AU" sz="2400" dirty="0"/>
              <a:t>Utilization</a:t>
            </a:r>
          </a:p>
        </p:txBody>
      </p:sp>
      <p:sp>
        <p:nvSpPr>
          <p:cNvPr id="23" name="Right Arrow 22"/>
          <p:cNvSpPr/>
          <p:nvPr/>
        </p:nvSpPr>
        <p:spPr>
          <a:xfrm rot="18900000" flipH="1">
            <a:off x="4180373" y="3222215"/>
            <a:ext cx="632608" cy="2594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Right Arrow 23"/>
          <p:cNvSpPr/>
          <p:nvPr/>
        </p:nvSpPr>
        <p:spPr>
          <a:xfrm rot="2700000">
            <a:off x="4495081" y="3232930"/>
            <a:ext cx="632608" cy="2594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Oval 7"/>
          <p:cNvSpPr/>
          <p:nvPr/>
        </p:nvSpPr>
        <p:spPr>
          <a:xfrm>
            <a:off x="3885548" y="2797936"/>
            <a:ext cx="1536968" cy="53177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dirty="0">
                <a:solidFill>
                  <a:schemeClr val="tx1"/>
                </a:solidFill>
              </a:rPr>
              <a:t>System</a:t>
            </a:r>
          </a:p>
        </p:txBody>
      </p:sp>
      <p:sp>
        <p:nvSpPr>
          <p:cNvPr id="25" name="TextBox 24"/>
          <p:cNvSpPr txBox="1"/>
          <p:nvPr/>
        </p:nvSpPr>
        <p:spPr>
          <a:xfrm>
            <a:off x="4099954" y="4379945"/>
            <a:ext cx="971355" cy="338554"/>
          </a:xfrm>
          <a:prstGeom prst="rect">
            <a:avLst/>
          </a:prstGeom>
          <a:noFill/>
        </p:spPr>
        <p:txBody>
          <a:bodyPr wrap="none" rtlCol="0">
            <a:spAutoFit/>
          </a:bodyPr>
          <a:lstStyle/>
          <a:p>
            <a:pPr algn="ctr"/>
            <a:r>
              <a:rPr lang="en-AU" sz="1600" dirty="0"/>
              <a:t>Efficiency</a:t>
            </a:r>
          </a:p>
        </p:txBody>
      </p:sp>
      <p:sp>
        <p:nvSpPr>
          <p:cNvPr id="26" name="TextBox 25"/>
          <p:cNvSpPr txBox="1"/>
          <p:nvPr/>
        </p:nvSpPr>
        <p:spPr>
          <a:xfrm>
            <a:off x="6954579" y="1625179"/>
            <a:ext cx="907813" cy="1323439"/>
          </a:xfrm>
          <a:prstGeom prst="rect">
            <a:avLst/>
          </a:prstGeom>
          <a:noFill/>
        </p:spPr>
        <p:txBody>
          <a:bodyPr wrap="none" rtlCol="0">
            <a:spAutoFit/>
          </a:bodyPr>
          <a:lstStyle/>
          <a:p>
            <a:pPr algn="ctr"/>
            <a:r>
              <a:rPr lang="en-AU" sz="1600" dirty="0"/>
              <a:t>Network</a:t>
            </a:r>
          </a:p>
          <a:p>
            <a:pPr algn="ctr"/>
            <a:r>
              <a:rPr lang="en-AU" sz="1600" dirty="0"/>
              <a:t>Memory</a:t>
            </a:r>
          </a:p>
          <a:p>
            <a:pPr algn="ctr"/>
            <a:r>
              <a:rPr lang="en-AU" sz="1600" dirty="0"/>
              <a:t>CPU</a:t>
            </a:r>
          </a:p>
          <a:p>
            <a:pPr algn="ctr"/>
            <a:r>
              <a:rPr lang="en-AU" sz="1600" dirty="0"/>
              <a:t>Disk</a:t>
            </a:r>
          </a:p>
          <a:p>
            <a:pPr algn="ctr"/>
            <a:r>
              <a:rPr lang="en-AU" sz="1600" dirty="0"/>
              <a:t>…</a:t>
            </a:r>
          </a:p>
        </p:txBody>
      </p:sp>
      <p:sp>
        <p:nvSpPr>
          <p:cNvPr id="27" name="TextBox 26"/>
          <p:cNvSpPr txBox="1"/>
          <p:nvPr/>
        </p:nvSpPr>
        <p:spPr>
          <a:xfrm>
            <a:off x="1259435" y="3641281"/>
            <a:ext cx="1163973" cy="1077218"/>
          </a:xfrm>
          <a:prstGeom prst="rect">
            <a:avLst/>
          </a:prstGeom>
          <a:noFill/>
        </p:spPr>
        <p:txBody>
          <a:bodyPr wrap="none" rtlCol="0">
            <a:spAutoFit/>
          </a:bodyPr>
          <a:lstStyle/>
          <a:p>
            <a:pPr algn="ctr"/>
            <a:r>
              <a:rPr lang="en-AU" sz="1600" dirty="0"/>
              <a:t>Latency</a:t>
            </a:r>
          </a:p>
          <a:p>
            <a:pPr algn="ctr"/>
            <a:r>
              <a:rPr lang="en-AU" sz="1600" dirty="0"/>
              <a:t>Throughput</a:t>
            </a:r>
          </a:p>
          <a:p>
            <a:pPr algn="ctr"/>
            <a:r>
              <a:rPr lang="en-AU" sz="1600" dirty="0"/>
              <a:t>Timeliness</a:t>
            </a:r>
          </a:p>
          <a:p>
            <a:pPr algn="ctr"/>
            <a:r>
              <a:rPr lang="en-AU" sz="1600" dirty="0"/>
              <a:t>…</a:t>
            </a:r>
          </a:p>
        </p:txBody>
      </p:sp>
      <p:sp>
        <p:nvSpPr>
          <p:cNvPr id="28" name="TextBox 27"/>
          <p:cNvSpPr txBox="1"/>
          <p:nvPr/>
        </p:nvSpPr>
        <p:spPr>
          <a:xfrm>
            <a:off x="5448016" y="2867266"/>
            <a:ext cx="1014893" cy="338554"/>
          </a:xfrm>
          <a:prstGeom prst="rect">
            <a:avLst/>
          </a:prstGeom>
          <a:noFill/>
        </p:spPr>
        <p:txBody>
          <a:bodyPr wrap="none" rtlCol="0">
            <a:spAutoFit/>
          </a:bodyPr>
          <a:lstStyle/>
          <a:p>
            <a:pPr algn="ctr"/>
            <a:r>
              <a:rPr lang="en-AU" sz="1600" dirty="0"/>
              <a:t>Scalability</a:t>
            </a:r>
          </a:p>
        </p:txBody>
      </p:sp>
      <p:sp>
        <p:nvSpPr>
          <p:cNvPr id="29" name="TextBox 28"/>
          <p:cNvSpPr txBox="1"/>
          <p:nvPr/>
        </p:nvSpPr>
        <p:spPr>
          <a:xfrm>
            <a:off x="6905277" y="3564264"/>
            <a:ext cx="1157688" cy="584775"/>
          </a:xfrm>
          <a:prstGeom prst="rect">
            <a:avLst/>
          </a:prstGeom>
          <a:noFill/>
        </p:spPr>
        <p:txBody>
          <a:bodyPr wrap="none" rtlCol="0">
            <a:spAutoFit/>
          </a:bodyPr>
          <a:lstStyle/>
          <a:p>
            <a:pPr algn="ctr"/>
            <a:r>
              <a:rPr lang="en-AU" sz="1600" dirty="0"/>
              <a:t>Capacity</a:t>
            </a:r>
          </a:p>
          <a:p>
            <a:pPr algn="ctr"/>
            <a:r>
              <a:rPr lang="en-AU" sz="1600" dirty="0"/>
              <a:t>Bottlenecks</a:t>
            </a:r>
          </a:p>
        </p:txBody>
      </p:sp>
      <p:sp>
        <p:nvSpPr>
          <p:cNvPr id="30" name="TextBox 29"/>
          <p:cNvSpPr txBox="1"/>
          <p:nvPr/>
        </p:nvSpPr>
        <p:spPr>
          <a:xfrm>
            <a:off x="843808" y="1502161"/>
            <a:ext cx="1995226" cy="2062103"/>
          </a:xfrm>
          <a:prstGeom prst="rect">
            <a:avLst/>
          </a:prstGeom>
          <a:noFill/>
        </p:spPr>
        <p:txBody>
          <a:bodyPr wrap="none" rtlCol="0">
            <a:spAutoFit/>
          </a:bodyPr>
          <a:lstStyle/>
          <a:p>
            <a:pPr algn="ctr"/>
            <a:r>
              <a:rPr lang="en-AU" sz="1600" dirty="0"/>
              <a:t>Background</a:t>
            </a:r>
          </a:p>
          <a:p>
            <a:pPr algn="ctr"/>
            <a:r>
              <a:rPr lang="en-AU" sz="1600" dirty="0"/>
              <a:t>Sustained</a:t>
            </a:r>
          </a:p>
          <a:p>
            <a:pPr algn="ctr"/>
            <a:r>
              <a:rPr lang="en-AU" sz="1600" dirty="0"/>
              <a:t>Increasing</a:t>
            </a:r>
          </a:p>
          <a:p>
            <a:pPr algn="ctr"/>
            <a:r>
              <a:rPr lang="en-AU" sz="1600" dirty="0"/>
              <a:t>Stress</a:t>
            </a:r>
          </a:p>
          <a:p>
            <a:pPr algn="ctr"/>
            <a:r>
              <a:rPr lang="en-AU" sz="1600" dirty="0"/>
              <a:t>Standard benchmarks</a:t>
            </a:r>
          </a:p>
          <a:p>
            <a:pPr algn="ctr"/>
            <a:r>
              <a:rPr lang="en-AU" sz="1600" dirty="0"/>
              <a:t>Representative?</a:t>
            </a:r>
          </a:p>
          <a:p>
            <a:pPr algn="ctr"/>
            <a:r>
              <a:rPr lang="en-AU" sz="1600" dirty="0"/>
              <a:t>Production</a:t>
            </a:r>
          </a:p>
          <a:p>
            <a:pPr algn="ctr"/>
            <a:r>
              <a:rPr lang="en-AU" sz="1600" dirty="0"/>
              <a:t>…</a:t>
            </a:r>
          </a:p>
        </p:txBody>
      </p:sp>
    </p:spTree>
    <p:extLst>
      <p:ext uri="{BB962C8B-B14F-4D97-AF65-F5344CB8AC3E}">
        <p14:creationId xmlns:p14="http://schemas.microsoft.com/office/powerpoint/2010/main" val="2228565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23" grpId="0" animBg="1"/>
      <p:bldP spid="24" grpId="0" animBg="1"/>
      <p:bldP spid="25" grpId="0"/>
      <p:bldP spid="26" grpId="0"/>
      <p:bldP spid="27" grpId="0"/>
      <p:bldP spid="28" grpId="0"/>
      <p:bldP spid="2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AU" dirty="0"/>
              <a:t>Some Important Varieties of Performance</a:t>
            </a:r>
          </a:p>
        </p:txBody>
      </p:sp>
      <p:sp>
        <p:nvSpPr>
          <p:cNvPr id="6" name="Content Placeholder 5"/>
          <p:cNvSpPr>
            <a:spLocks noGrp="1"/>
          </p:cNvSpPr>
          <p:nvPr>
            <p:ph idx="1"/>
          </p:nvPr>
        </p:nvSpPr>
        <p:spPr/>
        <p:txBody>
          <a:bodyPr>
            <a:normAutofit lnSpcReduction="10000"/>
          </a:bodyPr>
          <a:lstStyle/>
          <a:p>
            <a:r>
              <a:rPr lang="en-AU" dirty="0"/>
              <a:t>Latency</a:t>
            </a:r>
          </a:p>
          <a:p>
            <a:pPr lvl="1"/>
            <a:r>
              <a:rPr lang="en-AU" dirty="0"/>
              <a:t>How quickly does the system respond to a request?</a:t>
            </a:r>
          </a:p>
          <a:p>
            <a:pPr lvl="1"/>
            <a:endParaRPr lang="en-AU" dirty="0"/>
          </a:p>
          <a:p>
            <a:r>
              <a:rPr lang="en-AU" dirty="0"/>
              <a:t>Throughput</a:t>
            </a:r>
          </a:p>
          <a:p>
            <a:pPr lvl="1"/>
            <a:r>
              <a:rPr lang="en-AU" dirty="0"/>
              <a:t>How many requests can the system process in a fixed unit of time?</a:t>
            </a:r>
          </a:p>
          <a:p>
            <a:pPr lvl="1"/>
            <a:endParaRPr lang="en-AU" dirty="0"/>
          </a:p>
          <a:p>
            <a:r>
              <a:rPr lang="en-AU" dirty="0"/>
              <a:t>Timeliness</a:t>
            </a:r>
          </a:p>
          <a:p>
            <a:pPr lvl="1"/>
            <a:r>
              <a:rPr lang="en-AU" dirty="0"/>
              <a:t>Will the system always process a request in a specified time window?</a:t>
            </a:r>
          </a:p>
          <a:p>
            <a:pPr lvl="1"/>
            <a:endParaRPr lang="en-AU" dirty="0"/>
          </a:p>
          <a:p>
            <a:r>
              <a:rPr lang="en-AU" dirty="0"/>
              <a:t>Scalability is an orthogonal issue</a:t>
            </a:r>
          </a:p>
          <a:p>
            <a:pPr lvl="1"/>
            <a:r>
              <a:rPr lang="en-AU" dirty="0"/>
              <a:t>How does </a:t>
            </a:r>
            <a:r>
              <a:rPr lang="en-AU" i="1" dirty="0"/>
              <a:t>&lt;performance&gt;</a:t>
            </a:r>
            <a:r>
              <a:rPr lang="en-AU" dirty="0"/>
              <a:t> change under increasing load &amp; system resources?</a:t>
            </a:r>
          </a:p>
          <a:p>
            <a:pPr lvl="2"/>
            <a:r>
              <a:rPr lang="en-AU" dirty="0"/>
              <a:t>(Can also be about the response of a system when decreasing resources, under variable load)</a:t>
            </a:r>
          </a:p>
        </p:txBody>
      </p:sp>
      <p:sp>
        <p:nvSpPr>
          <p:cNvPr id="2" name="Foliennummernplatzhalter 1">
            <a:extLst>
              <a:ext uri="{FF2B5EF4-FFF2-40B4-BE49-F238E27FC236}">
                <a16:creationId xmlns:a16="http://schemas.microsoft.com/office/drawing/2014/main" id="{BB59105C-9996-472C-A068-28A386A841A6}"/>
              </a:ext>
            </a:extLst>
          </p:cNvPr>
          <p:cNvSpPr>
            <a:spLocks noGrp="1"/>
          </p:cNvSpPr>
          <p:nvPr>
            <p:ph type="sldNum" sz="quarter" idx="4"/>
          </p:nvPr>
        </p:nvSpPr>
        <p:spPr/>
        <p:txBody>
          <a:bodyPr/>
          <a:lstStyle/>
          <a:p>
            <a:fld id="{97F98C0B-273E-428A-ABCF-EBED2BA25188}" type="slidenum">
              <a:rPr lang="en-US" smtClean="0"/>
              <a:t>6</a:t>
            </a:fld>
            <a:endParaRPr lang="en-US"/>
          </a:p>
        </p:txBody>
      </p:sp>
    </p:spTree>
    <p:extLst>
      <p:ext uri="{BB962C8B-B14F-4D97-AF65-F5344CB8AC3E}">
        <p14:creationId xmlns:p14="http://schemas.microsoft.com/office/powerpoint/2010/main" val="2815368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9" end="9"/>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10" end="1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47999" y="300413"/>
            <a:ext cx="8107874" cy="648000"/>
          </a:xfrm>
        </p:spPr>
        <p:txBody>
          <a:bodyPr>
            <a:noAutofit/>
          </a:bodyPr>
          <a:lstStyle/>
          <a:p>
            <a:r>
              <a:rPr lang="en-AU" sz="2800" dirty="0"/>
              <a:t>To Understand Performance, You Need Measurements</a:t>
            </a:r>
          </a:p>
        </p:txBody>
      </p:sp>
      <p:sp>
        <p:nvSpPr>
          <p:cNvPr id="6" name="Content Placeholder 5"/>
          <p:cNvSpPr>
            <a:spLocks noGrp="1"/>
          </p:cNvSpPr>
          <p:nvPr>
            <p:ph idx="1"/>
          </p:nvPr>
        </p:nvSpPr>
        <p:spPr/>
        <p:txBody>
          <a:bodyPr>
            <a:normAutofit fontScale="92500"/>
          </a:bodyPr>
          <a:lstStyle/>
          <a:p>
            <a:r>
              <a:rPr lang="en-AU" dirty="0"/>
              <a:t>Application-Level measurements</a:t>
            </a:r>
          </a:p>
          <a:p>
            <a:pPr lvl="1"/>
            <a:r>
              <a:rPr lang="en-AU" sz="1800" dirty="0"/>
              <a:t>Overall performance; check requirements met; validate results from detailed models</a:t>
            </a:r>
          </a:p>
          <a:p>
            <a:r>
              <a:rPr lang="en-AU" dirty="0"/>
              <a:t>Component-Level measurements / Micro-benchmarking</a:t>
            </a:r>
          </a:p>
          <a:p>
            <a:pPr lvl="1"/>
            <a:r>
              <a:rPr lang="en-AU" sz="1800" dirty="0"/>
              <a:t>Piece-wise drivers of performance; observe interactions; identity bottlenecks </a:t>
            </a:r>
          </a:p>
          <a:p>
            <a:pPr lvl="1"/>
            <a:endParaRPr lang="en-AU" dirty="0"/>
          </a:p>
          <a:p>
            <a:r>
              <a:rPr lang="en-AU" dirty="0"/>
              <a:t>Load testing – check system response &amp; utilisation under increasing load</a:t>
            </a:r>
          </a:p>
          <a:p>
            <a:r>
              <a:rPr lang="en-AU" dirty="0"/>
              <a:t>Stress Testing – check maximum capacity; find resource bottlenecks</a:t>
            </a:r>
          </a:p>
          <a:p>
            <a:r>
              <a:rPr lang="en-AU" dirty="0"/>
              <a:t>Soak Testing – check system response under long-duration load</a:t>
            </a:r>
          </a:p>
          <a:p>
            <a:pPr lvl="1"/>
            <a:endParaRPr lang="en-AU" dirty="0"/>
          </a:p>
          <a:p>
            <a:r>
              <a:rPr lang="en-AU" dirty="0"/>
              <a:t>“Benchmarking crimes” – what not to do:</a:t>
            </a:r>
          </a:p>
          <a:p>
            <a:pPr lvl="1"/>
            <a:r>
              <a:rPr lang="en-AU" dirty="0">
                <a:hlinkClick r:id="rId2"/>
              </a:rPr>
              <a:t>https://www.cse.unsw.edu.au/~gernot/benchmarking-crimes.html</a:t>
            </a:r>
            <a:r>
              <a:rPr lang="en-AU" dirty="0"/>
              <a:t> </a:t>
            </a:r>
          </a:p>
        </p:txBody>
      </p:sp>
      <p:sp>
        <p:nvSpPr>
          <p:cNvPr id="2" name="Foliennummernplatzhalter 1">
            <a:extLst>
              <a:ext uri="{FF2B5EF4-FFF2-40B4-BE49-F238E27FC236}">
                <a16:creationId xmlns:a16="http://schemas.microsoft.com/office/drawing/2014/main" id="{463A0DA1-D41D-4112-A773-DA029CE20113}"/>
              </a:ext>
            </a:extLst>
          </p:cNvPr>
          <p:cNvSpPr>
            <a:spLocks noGrp="1"/>
          </p:cNvSpPr>
          <p:nvPr>
            <p:ph type="sldNum" sz="quarter" idx="4"/>
          </p:nvPr>
        </p:nvSpPr>
        <p:spPr/>
        <p:txBody>
          <a:bodyPr/>
          <a:lstStyle/>
          <a:p>
            <a:fld id="{97F98C0B-273E-428A-ABCF-EBED2BA25188}" type="slidenum">
              <a:rPr lang="en-US" smtClean="0"/>
              <a:t>7</a:t>
            </a:fld>
            <a:endParaRPr lang="en-US"/>
          </a:p>
        </p:txBody>
      </p:sp>
    </p:spTree>
    <p:extLst>
      <p:ext uri="{BB962C8B-B14F-4D97-AF65-F5344CB8AC3E}">
        <p14:creationId xmlns:p14="http://schemas.microsoft.com/office/powerpoint/2010/main" val="1553741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Predicting Performance?</a:t>
            </a:r>
          </a:p>
        </p:txBody>
      </p:sp>
      <p:sp>
        <p:nvSpPr>
          <p:cNvPr id="3" name="Content Placeholder 2"/>
          <p:cNvSpPr>
            <a:spLocks noGrp="1"/>
          </p:cNvSpPr>
          <p:nvPr>
            <p:ph idx="1"/>
          </p:nvPr>
        </p:nvSpPr>
        <p:spPr/>
        <p:txBody>
          <a:bodyPr>
            <a:normAutofit fontScale="92500" lnSpcReduction="10000"/>
          </a:bodyPr>
          <a:lstStyle/>
          <a:p>
            <a:r>
              <a:rPr lang="en-AU" dirty="0"/>
              <a:t>Analytic formulae</a:t>
            </a:r>
          </a:p>
          <a:p>
            <a:pPr lvl="1"/>
            <a:r>
              <a:rPr lang="en-AU" sz="1800" dirty="0"/>
              <a:t>Highly abstract/simplified models</a:t>
            </a:r>
          </a:p>
          <a:p>
            <a:pPr lvl="1"/>
            <a:r>
              <a:rPr lang="en-AU" sz="1800" dirty="0"/>
              <a:t>Quick &amp; dirty</a:t>
            </a:r>
          </a:p>
          <a:p>
            <a:pPr lvl="1"/>
            <a:r>
              <a:rPr lang="en-AU" sz="1800" dirty="0"/>
              <a:t>Only needs design &amp; component benchmarks</a:t>
            </a:r>
          </a:p>
          <a:p>
            <a:pPr lvl="1"/>
            <a:r>
              <a:rPr lang="en-AU" dirty="0"/>
              <a:t>Can be done before developing the system</a:t>
            </a:r>
          </a:p>
          <a:p>
            <a:r>
              <a:rPr lang="en-AU" dirty="0"/>
              <a:t>Simulation</a:t>
            </a:r>
          </a:p>
          <a:p>
            <a:pPr lvl="1"/>
            <a:r>
              <a:rPr lang="en-AU" sz="1800" dirty="0"/>
              <a:t>Uses a model; many abstractions/simplifications</a:t>
            </a:r>
          </a:p>
          <a:p>
            <a:pPr lvl="1"/>
            <a:r>
              <a:rPr lang="en-AU" sz="1800" dirty="0"/>
              <a:t>Only needs a design &amp; benchmarks, but takes work</a:t>
            </a:r>
          </a:p>
          <a:p>
            <a:pPr lvl="1"/>
            <a:r>
              <a:rPr lang="en-AU" sz="1800" dirty="0"/>
              <a:t>Starts to explore variation &amp; interactions</a:t>
            </a:r>
          </a:p>
          <a:p>
            <a:pPr lvl="1"/>
            <a:r>
              <a:rPr lang="en-AU" dirty="0"/>
              <a:t>Can be done before developing the system</a:t>
            </a:r>
          </a:p>
          <a:p>
            <a:r>
              <a:rPr lang="en-AU" dirty="0"/>
              <a:t>Monitoring</a:t>
            </a:r>
          </a:p>
          <a:p>
            <a:pPr lvl="1"/>
            <a:r>
              <a:rPr lang="en-AU" sz="1800" dirty="0"/>
              <a:t>Needs real deployed system</a:t>
            </a:r>
          </a:p>
          <a:p>
            <a:pPr lvl="1"/>
            <a:r>
              <a:rPr lang="en-AU" sz="1800" dirty="0"/>
              <a:t>Needs a monitoring framework</a:t>
            </a:r>
          </a:p>
          <a:p>
            <a:pPr lvl="1"/>
            <a:r>
              <a:rPr lang="en-AU" sz="1800" dirty="0"/>
              <a:t>Most valid results; e.g. actual effects!</a:t>
            </a:r>
          </a:p>
        </p:txBody>
      </p:sp>
      <p:sp>
        <p:nvSpPr>
          <p:cNvPr id="6" name="Foliennummernplatzhalter 5">
            <a:extLst>
              <a:ext uri="{FF2B5EF4-FFF2-40B4-BE49-F238E27FC236}">
                <a16:creationId xmlns:a16="http://schemas.microsoft.com/office/drawing/2014/main" id="{E6F07DE1-0219-4F49-B1C7-9B06ACE51801}"/>
              </a:ext>
            </a:extLst>
          </p:cNvPr>
          <p:cNvSpPr>
            <a:spLocks noGrp="1"/>
          </p:cNvSpPr>
          <p:nvPr>
            <p:ph type="sldNum" sz="quarter" idx="4"/>
          </p:nvPr>
        </p:nvSpPr>
        <p:spPr/>
        <p:txBody>
          <a:bodyPr/>
          <a:lstStyle/>
          <a:p>
            <a:fld id="{97F98C0B-273E-428A-ABCF-EBED2BA25188}" type="slidenum">
              <a:rPr lang="en-US" smtClean="0"/>
              <a:t>8</a:t>
            </a:fld>
            <a:endParaRPr lang="en-US"/>
          </a:p>
        </p:txBody>
      </p:sp>
      <p:sp>
        <p:nvSpPr>
          <p:cNvPr id="4" name="Down Arrow 3"/>
          <p:cNvSpPr/>
          <p:nvPr/>
        </p:nvSpPr>
        <p:spPr>
          <a:xfrm>
            <a:off x="5718837" y="1670185"/>
            <a:ext cx="1502069" cy="27802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TextBox 8"/>
          <p:cNvSpPr txBox="1"/>
          <p:nvPr/>
        </p:nvSpPr>
        <p:spPr>
          <a:xfrm>
            <a:off x="5764007" y="4578530"/>
            <a:ext cx="1411733" cy="524503"/>
          </a:xfrm>
          <a:prstGeom prst="rect">
            <a:avLst/>
          </a:prstGeom>
          <a:noFill/>
        </p:spPr>
        <p:txBody>
          <a:bodyPr wrap="none" rtlCol="0">
            <a:spAutoFit/>
          </a:bodyPr>
          <a:lstStyle/>
          <a:p>
            <a:pPr algn="ctr"/>
            <a:r>
              <a:rPr lang="en-AU" dirty="0"/>
              <a:t>Needs a real</a:t>
            </a:r>
            <a:br>
              <a:rPr lang="en-AU" dirty="0"/>
            </a:br>
            <a:r>
              <a:rPr lang="en-AU" dirty="0"/>
              <a:t>deployed system</a:t>
            </a:r>
          </a:p>
        </p:txBody>
      </p:sp>
      <p:sp>
        <p:nvSpPr>
          <p:cNvPr id="10" name="TextBox 9"/>
          <p:cNvSpPr txBox="1"/>
          <p:nvPr/>
        </p:nvSpPr>
        <p:spPr>
          <a:xfrm>
            <a:off x="5648173" y="1155728"/>
            <a:ext cx="1643399" cy="524503"/>
          </a:xfrm>
          <a:prstGeom prst="rect">
            <a:avLst/>
          </a:prstGeom>
          <a:noFill/>
        </p:spPr>
        <p:txBody>
          <a:bodyPr wrap="none" rtlCol="0">
            <a:spAutoFit/>
          </a:bodyPr>
          <a:lstStyle/>
          <a:p>
            <a:pPr algn="ctr"/>
            <a:r>
              <a:rPr lang="en-AU" dirty="0"/>
              <a:t>Only needs a design</a:t>
            </a:r>
            <a:br>
              <a:rPr lang="en-AU" dirty="0"/>
            </a:br>
            <a:r>
              <a:rPr lang="en-AU" dirty="0"/>
              <a:t>&amp; benchmarks</a:t>
            </a:r>
          </a:p>
        </p:txBody>
      </p:sp>
      <p:sp>
        <p:nvSpPr>
          <p:cNvPr id="11" name="TextBox 10"/>
          <p:cNvSpPr txBox="1"/>
          <p:nvPr/>
        </p:nvSpPr>
        <p:spPr>
          <a:xfrm>
            <a:off x="7472825" y="1284369"/>
            <a:ext cx="1606145" cy="308418"/>
          </a:xfrm>
          <a:prstGeom prst="rect">
            <a:avLst/>
          </a:prstGeom>
          <a:noFill/>
        </p:spPr>
        <p:txBody>
          <a:bodyPr wrap="none" rtlCol="0">
            <a:spAutoFit/>
          </a:bodyPr>
          <a:lstStyle/>
          <a:p>
            <a:pPr algn="ctr"/>
            <a:r>
              <a:rPr lang="en-AU" dirty="0"/>
              <a:t>Highly approximate</a:t>
            </a:r>
          </a:p>
        </p:txBody>
      </p:sp>
      <p:sp>
        <p:nvSpPr>
          <p:cNvPr id="12" name="TextBox 11"/>
          <p:cNvSpPr txBox="1"/>
          <p:nvPr/>
        </p:nvSpPr>
        <p:spPr>
          <a:xfrm>
            <a:off x="7538672" y="4682002"/>
            <a:ext cx="1474443" cy="308418"/>
          </a:xfrm>
          <a:prstGeom prst="rect">
            <a:avLst/>
          </a:prstGeom>
          <a:noFill/>
        </p:spPr>
        <p:txBody>
          <a:bodyPr wrap="none" rtlCol="0">
            <a:spAutoFit/>
          </a:bodyPr>
          <a:lstStyle/>
          <a:p>
            <a:pPr algn="ctr"/>
            <a:r>
              <a:rPr lang="en-AU" dirty="0"/>
              <a:t>Most valid results</a:t>
            </a:r>
          </a:p>
        </p:txBody>
      </p:sp>
      <p:sp>
        <p:nvSpPr>
          <p:cNvPr id="13" name="Down Arrow 3">
            <a:extLst>
              <a:ext uri="{FF2B5EF4-FFF2-40B4-BE49-F238E27FC236}">
                <a16:creationId xmlns:a16="http://schemas.microsoft.com/office/drawing/2014/main" id="{8BDA6523-38EE-49F3-9848-256BAE1AECF3}"/>
              </a:ext>
            </a:extLst>
          </p:cNvPr>
          <p:cNvSpPr/>
          <p:nvPr/>
        </p:nvSpPr>
        <p:spPr>
          <a:xfrm rot="10800000">
            <a:off x="7524858" y="1680231"/>
            <a:ext cx="1502069" cy="27802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281393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dirty="0"/>
              <a:t>Some Resources in Blockchains</a:t>
            </a:r>
          </a:p>
        </p:txBody>
      </p:sp>
      <p:sp>
        <p:nvSpPr>
          <p:cNvPr id="6" name="Content Placeholder 5"/>
          <p:cNvSpPr>
            <a:spLocks noGrp="1"/>
          </p:cNvSpPr>
          <p:nvPr>
            <p:ph idx="1"/>
          </p:nvPr>
        </p:nvSpPr>
        <p:spPr/>
        <p:txBody>
          <a:bodyPr>
            <a:normAutofit fontScale="92500" lnSpcReduction="10000"/>
          </a:bodyPr>
          <a:lstStyle/>
          <a:p>
            <a:r>
              <a:rPr lang="en-AU" dirty="0"/>
              <a:t>For public blockchains</a:t>
            </a:r>
          </a:p>
          <a:p>
            <a:pPr lvl="1"/>
            <a:r>
              <a:rPr lang="en-AU" dirty="0"/>
              <a:t>Cryptocurrency for Transaction Fees</a:t>
            </a:r>
          </a:p>
          <a:p>
            <a:pPr lvl="2"/>
            <a:r>
              <a:rPr lang="en-AU" dirty="0"/>
              <a:t>Can affect probability of transaction inclusion (impacts transaction latency)</a:t>
            </a:r>
          </a:p>
          <a:p>
            <a:pPr lvl="1"/>
            <a:r>
              <a:rPr lang="en-AU" dirty="0"/>
              <a:t>Mining difficulty for Proof of Work</a:t>
            </a:r>
          </a:p>
          <a:p>
            <a:pPr lvl="1"/>
            <a:r>
              <a:rPr lang="en-AU" dirty="0"/>
              <a:t>Gas &amp; Block Gas Limits (e.g. in Ethereum)</a:t>
            </a:r>
          </a:p>
          <a:p>
            <a:pPr lvl="2"/>
            <a:r>
              <a:rPr lang="en-AU" dirty="0"/>
              <a:t>More of an Availability problem as discussed in lectures on dependability and security</a:t>
            </a:r>
          </a:p>
          <a:p>
            <a:pPr lvl="1"/>
            <a:r>
              <a:rPr lang="en-AU" dirty="0"/>
              <a:t>Network capacity including speed of light for global transaction &amp; block propagation</a:t>
            </a:r>
          </a:p>
          <a:p>
            <a:pPr lvl="2"/>
            <a:r>
              <a:rPr lang="en-AU" dirty="0"/>
              <a:t>Impacts consensus for transaction inclusion latency</a:t>
            </a:r>
          </a:p>
          <a:p>
            <a:pPr lvl="1"/>
            <a:r>
              <a:rPr lang="en-AU" dirty="0"/>
              <a:t>Transaction throughput capacity</a:t>
            </a:r>
          </a:p>
          <a:p>
            <a:pPr lvl="2"/>
            <a:r>
              <a:rPr lang="en-AU" dirty="0"/>
              <a:t>Latency will be impacted when system is overloaded beyond capacity</a:t>
            </a:r>
          </a:p>
          <a:p>
            <a:pPr lvl="3"/>
            <a:endParaRPr lang="en-AU" dirty="0"/>
          </a:p>
          <a:p>
            <a:r>
              <a:rPr lang="en-AU" dirty="0"/>
              <a:t>For private blockchains / running a node for a public blockchain</a:t>
            </a:r>
          </a:p>
          <a:p>
            <a:pPr lvl="1"/>
            <a:r>
              <a:rPr lang="en-AU" dirty="0"/>
              <a:t>Normal cloud/enterprise server &amp; network resource considerations</a:t>
            </a:r>
          </a:p>
          <a:p>
            <a:pPr lvl="1"/>
            <a:r>
              <a:rPr lang="en-AU" dirty="0"/>
              <a:t>…and most of the above, depending on blockchain configuration</a:t>
            </a:r>
          </a:p>
        </p:txBody>
      </p:sp>
      <p:sp>
        <p:nvSpPr>
          <p:cNvPr id="2" name="Foliennummernplatzhalter 1">
            <a:extLst>
              <a:ext uri="{FF2B5EF4-FFF2-40B4-BE49-F238E27FC236}">
                <a16:creationId xmlns:a16="http://schemas.microsoft.com/office/drawing/2014/main" id="{1B6313D4-B92D-4869-9F7E-614BFE6D9280}"/>
              </a:ext>
            </a:extLst>
          </p:cNvPr>
          <p:cNvSpPr>
            <a:spLocks noGrp="1"/>
          </p:cNvSpPr>
          <p:nvPr>
            <p:ph type="sldNum" sz="quarter" idx="4"/>
          </p:nvPr>
        </p:nvSpPr>
        <p:spPr/>
        <p:txBody>
          <a:bodyPr/>
          <a:lstStyle/>
          <a:p>
            <a:fld id="{97F98C0B-273E-428A-ABCF-EBED2BA25188}" type="slidenum">
              <a:rPr lang="en-US" smtClean="0"/>
              <a:t>9</a:t>
            </a:fld>
            <a:endParaRPr lang="en-US"/>
          </a:p>
        </p:txBody>
      </p:sp>
    </p:spTree>
    <p:extLst>
      <p:ext uri="{BB962C8B-B14F-4D97-AF65-F5344CB8AC3E}">
        <p14:creationId xmlns:p14="http://schemas.microsoft.com/office/powerpoint/2010/main" val="320004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11" end="1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xEl>
                                              <p:pRg st="12" end="1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ta61 PowerPoint Widescreen</Template>
  <TotalTime>0</TotalTime>
  <Words>1576</Words>
  <Application>Microsoft Office PowerPoint</Application>
  <PresentationFormat>On-screen Show (16:10)</PresentationFormat>
  <Paragraphs>288</Paragraphs>
  <Slides>22</Slides>
  <Notes>7</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2</vt:i4>
      </vt:variant>
    </vt:vector>
  </HeadingPairs>
  <TitlesOfParts>
    <vt:vector size="27" baseType="lpstr">
      <vt:lpstr>等线</vt:lpstr>
      <vt:lpstr>Arial</vt:lpstr>
      <vt:lpstr>Calibri</vt:lpstr>
      <vt:lpstr>Wingdings</vt:lpstr>
      <vt:lpstr>Technische Universität Berlin | PowerPoint Master</vt:lpstr>
      <vt:lpstr>Performance 1:  Overview &amp; Latency</vt:lpstr>
      <vt:lpstr>What will you learn this week?</vt:lpstr>
      <vt:lpstr>Performance Overview</vt:lpstr>
      <vt:lpstr>ISO/IEC 25010:2011 Quality Model</vt:lpstr>
      <vt:lpstr>Performance-Related Considerations </vt:lpstr>
      <vt:lpstr>Some Important Varieties of Performance</vt:lpstr>
      <vt:lpstr>To Understand Performance, You Need Measurements</vt:lpstr>
      <vt:lpstr>Predicting Performance?</vt:lpstr>
      <vt:lpstr>Some Resources in Blockchains</vt:lpstr>
      <vt:lpstr>Latency</vt:lpstr>
      <vt:lpstr>Transaction Inclusion Time in Public Blockchain…</vt:lpstr>
      <vt:lpstr>Student Task</vt:lpstr>
      <vt:lpstr>… Plus Extra Small Bits of Time</vt:lpstr>
      <vt:lpstr>… Also, Major Sources of Variation in Latency</vt:lpstr>
      <vt:lpstr>Upshot is High Variation of Latency</vt:lpstr>
      <vt:lpstr>An Aside: Transaction Inclusion with Proof of Authority in Private Blockchain</vt:lpstr>
      <vt:lpstr>In Public Blockchains, Wait for Confirmation Blocks</vt:lpstr>
      <vt:lpstr>Confirmations:  Inclusion Confidence vs. Latency</vt:lpstr>
      <vt:lpstr>Confirmations:  Inclusion Confidence vs. Latency</vt:lpstr>
      <vt:lpstr>Student Task</vt:lpstr>
      <vt:lpstr>How Architects Can Influence Transaction Latency</vt:lpstr>
      <vt:lpstr>Performance 1:  Overview &amp; Latency</vt:lpstr>
    </vt:vector>
  </TitlesOfParts>
  <Company>CSIR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ngo Weber</dc:creator>
  <cp:lastModifiedBy>Ingo Weber</cp:lastModifiedBy>
  <cp:revision>1056</cp:revision>
  <dcterms:created xsi:type="dcterms:W3CDTF">2018-09-03T00:08:13Z</dcterms:created>
  <dcterms:modified xsi:type="dcterms:W3CDTF">2021-08-12T09:34:39Z</dcterms:modified>
</cp:coreProperties>
</file>